
<file path=[Content_Types].xml><?xml version="1.0" encoding="utf-8"?>
<Types xmlns="http://schemas.openxmlformats.org/package/2006/content-types">
  <Default Extension="rels" ContentType="application/vnd.openxmlformats-package.relationships+xml"/>
  <Default Extension="xml" ContentType="application/xml"/>
  <Default Extension="bin" ContentType="application/vnd.openxmlformats-officedocument.oleObject"/>
  <Default Extension="png" ContentType="image/png"/>
  <Default Extension="jpeg" ContentType="image/jpeg"/>
  <Default Extension="emf" ContentType="image/x-em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1.xml" ContentType="application/vnd.openxmlformats-officedocument.presentationml.tags+xml"/>
  <Override PartName="/ppt/drawings/vmlDrawing31.vml" ContentType="application/vnd.openxmlformats-officedocument.vmlDrawing"/>
  <Override PartName="/ppt/slideLayouts/slideLayout6.xml" ContentType="application/vnd.openxmlformats-officedocument.presentationml.slideLayout+xml"/>
  <Override PartName="/ppt/tags/tag2.xml" ContentType="application/vnd.openxmlformats-officedocument.presentationml.tags+xml"/>
  <Override PartName="/ppt/drawings/vmlDrawing32.vml" ContentType="application/vnd.openxmlformats-officedocument.vmlDrawing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3.xml" ContentType="application/vnd.openxmlformats-officedocument.presentationml.tags+xml"/>
  <Override PartName="/ppt/drawings/vmlDrawing33.vml" ContentType="application/vnd.openxmlformats-officedocument.vmlDrawing"/>
  <Override PartName="/ppt/theme/theme1.xml" ContentType="application/vnd.openxmlformats-officedocument.theme+xml"/>
  <Override PartName="/ppt/notesMasters/notesMaster1.xml" ContentType="application/vnd.openxmlformats-officedocument.presentationml.notesMaster+xml"/>
  <Override PartName="/ppt/theme/theme2.xml" ContentType="application/vnd.openxmlformats-officedocument.theme+xml"/>
  <Override PartName="/ppt/handoutMasters/handoutMaster1.xml" ContentType="application/vnd.openxmlformats-officedocument.presentationml.handoutMaster+xml"/>
  <Override PartName="/ppt/theme/theme3.xml" ContentType="application/vnd.openxmlformats-officedocument.theme+xml"/>
  <Override PartName="/ppt/slides/slide1.xml" ContentType="application/vnd.openxmlformats-officedocument.presentationml.slide+xml"/>
  <Override PartName="/ppt/notesSlides/notesSlide1.xml" ContentType="application/vnd.openxmlformats-officedocument.presentationml.notesSlide+xml"/>
  <Override PartName="/ppt/tableStyles.xml" ContentType="application/vnd.openxmlformats-officedocument.presentationml.tableStyle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customXml/itemProps1.xml" ContentType="application/vnd.openxmlformats-officedocument.customXmlProperties+xml"/>
  <Override PartName="/docProps/app.xml" ContentType="application/vnd.openxmlformats-officedocument.extended-properties+xml"/>
  <Override PartName="/docProps/core.xml" ContentType="application/vnd.openxmlformats-package.core-properties+xml"/>
  <Override PartName="/docProps/custom.xml" ContentType="application/vnd.openxmlformats-officedocument.custom-properties+xml"/>
</Types>
</file>

<file path=_rels/.rels><?xml version="1.0" encoding="UTF-8" standalone="yes"?>
<Relationships xmlns="http://schemas.openxmlformats.org/package/2006/relationships"><Relationship Id="rId1" Type="http://schemas.openxmlformats.org/officeDocument/2006/relationships/officeDocument" Target="ppt/presentation.xml"/><Relationship Id="rId2" Type="http://schemas.openxmlformats.org/officeDocument/2006/relationships/extended-properties" Target="docProps/app.xml"/><Relationship Id="rId3" Type="http://schemas.openxmlformats.org/package/2006/relationships/metadata/core-properties" Target="docProps/core.xml"/><Relationship Id="rId4" Type="http://schemas.openxmlformats.org/officeDocument/2006/relationships/custom-properties" Target="docProps/custom.xml"/></Relationships>
</file>

<file path=ppt/presentation.xml><?xml version="1.0" encoding="utf-8"?>
<p:presentation xmlns:p="http://schemas.openxmlformats.org/presentationml/2006/main" xmlns:r="http://schemas.openxmlformats.org/officeDocument/2006/relationships" xmlns:a="http://schemas.openxmlformats.org/drawingml/2006/main" saveSubsetFonts="1">
  <p:sldMasterIdLst>
    <p:sldMasterId id="2147483648" r:id="rId1"/>
  </p:sldMasterIdLst>
  <p:notesMasterIdLst>
    <p:notesMasterId r:id="rId2"/>
  </p:notesMasterIdLst>
  <p:handoutMasterIdLst>
    <p:handoutMasterId r:id="rId3"/>
  </p:handoutMasterIdLst>
  <p:sldIdLst>
    <p:sldId id="257" r:id="rId4"/>
  </p:sldIdLst>
  <p:sldSz type="screen16x9" cy="6858000" cx="12192000"/>
  <p:notesSz cx="6858000" cy="9144000"/>
  <p:defaultTextStyle>
    <a:defPPr>
      <a:defRPr lang="pt-PT"/>
    </a:defPPr>
    <a:lvl1pPr algn="l" defTabSz="914400" eaLnBrk="1" hangingPunct="1" latinLnBrk="0" marL="0" rtl="0">
      <a:defRPr sz="1800" kern="1200">
        <a:solidFill>
          <a:schemeClr val="tx1"/>
        </a:solidFill>
        <a:latin typeface="+mn-lt"/>
        <a:ea typeface="+mn-ea"/>
        <a:cs typeface="+mn-cs"/>
      </a:defRPr>
    </a:lvl1pPr>
    <a:lvl2pPr algn="l" defTabSz="914400" eaLnBrk="1" hangingPunct="1" latinLnBrk="0" marL="457200" rtl="0">
      <a:defRPr sz="1800" kern="1200">
        <a:solidFill>
          <a:schemeClr val="tx1"/>
        </a:solidFill>
        <a:latin typeface="+mn-lt"/>
        <a:ea typeface="+mn-ea"/>
        <a:cs typeface="+mn-cs"/>
      </a:defRPr>
    </a:lvl2pPr>
    <a:lvl3pPr algn="l" defTabSz="914400" eaLnBrk="1" hangingPunct="1" latinLnBrk="0" marL="914400" rtl="0">
      <a:defRPr sz="1800" kern="1200">
        <a:solidFill>
          <a:schemeClr val="tx1"/>
        </a:solidFill>
        <a:latin typeface="+mn-lt"/>
        <a:ea typeface="+mn-ea"/>
        <a:cs typeface="+mn-cs"/>
      </a:defRPr>
    </a:lvl3pPr>
    <a:lvl4pPr algn="l" defTabSz="914400" eaLnBrk="1" hangingPunct="1" latinLnBrk="0" marL="1371600" rtl="0">
      <a:defRPr sz="1800" kern="1200">
        <a:solidFill>
          <a:schemeClr val="tx1"/>
        </a:solidFill>
        <a:latin typeface="+mn-lt"/>
        <a:ea typeface="+mn-ea"/>
        <a:cs typeface="+mn-cs"/>
      </a:defRPr>
    </a:lvl4pPr>
    <a:lvl5pPr algn="l" defTabSz="914400" eaLnBrk="1" hangingPunct="1" latinLnBrk="0" marL="1828800" rtl="0">
      <a:defRPr sz="1800" kern="1200">
        <a:solidFill>
          <a:schemeClr val="tx1"/>
        </a:solidFill>
        <a:latin typeface="+mn-lt"/>
        <a:ea typeface="+mn-ea"/>
        <a:cs typeface="+mn-cs"/>
      </a:defRPr>
    </a:lvl5pPr>
    <a:lvl6pPr algn="l" defTabSz="914400" eaLnBrk="1" hangingPunct="1" latinLnBrk="0" marL="2286000" rtl="0">
      <a:defRPr sz="1800" kern="1200">
        <a:solidFill>
          <a:schemeClr val="tx1"/>
        </a:solidFill>
        <a:latin typeface="+mn-lt"/>
        <a:ea typeface="+mn-ea"/>
        <a:cs typeface="+mn-cs"/>
      </a:defRPr>
    </a:lvl6pPr>
    <a:lvl7pPr algn="l" defTabSz="914400" eaLnBrk="1" hangingPunct="1" latinLnBrk="0" marL="2743200" rtl="0">
      <a:defRPr sz="1800" kern="1200">
        <a:solidFill>
          <a:schemeClr val="tx1"/>
        </a:solidFill>
        <a:latin typeface="+mn-lt"/>
        <a:ea typeface="+mn-ea"/>
        <a:cs typeface="+mn-cs"/>
      </a:defRPr>
    </a:lvl7pPr>
    <a:lvl8pPr algn="l" defTabSz="914400" eaLnBrk="1" hangingPunct="1" latinLnBrk="0" marL="3200400" rtl="0">
      <a:defRPr sz="1800" kern="1200">
        <a:solidFill>
          <a:schemeClr val="tx1"/>
        </a:solidFill>
        <a:latin typeface="+mn-lt"/>
        <a:ea typeface="+mn-ea"/>
        <a:cs typeface="+mn-cs"/>
      </a:defRPr>
    </a:lvl8pPr>
    <a:lvl9pPr algn="l" defTabSz="914400" eaLnBrk="1" hangingPunct="1" latinLnBrk="0" marL="3657600" rtl="0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p="http://schemas.openxmlformats.org/presentationml/2006/main" xmlns:r="http://schemas.openxmlformats.org/officeDocument/2006/relationships" xmlns:a="http://schemas.openxmlformats.org/drawingml/2006/main">
  <p:showPr>
    <p:present/>
    <p:sldAll/>
    <p:penClr>
      <a:prstClr val="red"/>
    </p:penClr>
  </p:showPr>
  <p:clrMru>
    <a:srgbClr val="FAFAFA"/>
    <a:srgbClr val="EBEBEB"/>
    <a:srgbClr val="F9F9F9"/>
    <a:srgbClr val="0070AD"/>
    <a:srgbClr val="022B41"/>
    <a:srgbClr val="002639"/>
    <a:srgbClr val="001C29"/>
    <a:srgbClr val="FF6327"/>
    <a:srgbClr val="01D1D0"/>
    <a:srgbClr val="E6E7E7"/>
  </p:clrMru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p="http://schemas.openxmlformats.org/presentationml/2006/main" xmlns:r="http://schemas.openxmlformats.org/officeDocument/2006/relationships" xmlns:a="http://schemas.openxmlformats.org/drawingml/2006/main">
  <p:normalViewPr horzBarState="maximized">
    <p:restoredLeft sz="14994" autoAdjust="0"/>
    <p:restoredTop sz="95291" autoAdjust="0"/>
  </p:normalViewPr>
  <p:slideViewPr>
    <p:cSldViewPr>
      <p:cViewPr varScale="1">
        <p:scale>
          <a:sx n="67" d="100"/>
          <a:sy n="67" d="100"/>
        </p:scale>
        <p:origin x="644" y="44"/>
      </p:cViewPr>
      <p:guideLst>
        <p:guide orient="horz" pos="2341"/>
        <p:guide pos="3659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-4128"/>
    </p:cViewPr>
  </p:sorterViewPr>
  <p:notesViewPr>
    <p:cSldViewPr>
      <p:cViewPr varScale="1">
        <p:scale>
          <a:sx n="63" d="100"/>
          <a:sy n="63" d="100"/>
        </p:scale>
        <p:origin x="3134" y="77"/>
      </p:cViewPr>
    </p:cSldViewPr>
  </p:notesViewPr>
  <p:gridSpacing cx="72008" cy="72008"/>
</p:viewPr>
</file>

<file path=ppt/_rels/presentation.xml.rels><?xml version="1.0" encoding="UTF-8" standalone="yes"?>
<Relationships xmlns="http://schemas.openxmlformats.org/package/2006/relationships"><Relationship Id="rId1" Type="http://schemas.openxmlformats.org/officeDocument/2006/relationships/slideMaster" Target="slideMasters/slideMaster1.xml"/><Relationship Id="rId2" Type="http://schemas.openxmlformats.org/officeDocument/2006/relationships/notesMaster" Target="notesMasters/notesMaster1.xml"/><Relationship Id="rId3" Type="http://schemas.openxmlformats.org/officeDocument/2006/relationships/handoutMaster" Target="handoutMasters/handoutMaster1.xml"/><Relationship Id="rId4" Type="http://schemas.openxmlformats.org/officeDocument/2006/relationships/slide" Target="slides/slide1.xml"/><Relationship Id="rId5" Type="http://schemas.openxmlformats.org/officeDocument/2006/relationships/tableStyles" Target="tableStyles.xml"/><Relationship Id="rId6" Type="http://schemas.openxmlformats.org/officeDocument/2006/relationships/presProps" Target="presProps.xml"/><Relationship Id="rId7" Type="http://schemas.openxmlformats.org/officeDocument/2006/relationships/viewProps" Target="viewProps.xml"/><Relationship Id="rId8" Type="http://schemas.openxmlformats.org/officeDocument/2006/relationships/customXml" Target="../customXml/item1.xml"/><Relationship Id="rId9" Type="http://schemas.openxmlformats.org/officeDocument/2006/relationships/customXmlProps" Target="../customXml/itemProps1.xml"/><Relationship Id="rId10" Type="http://schemas.openxmlformats.org/officeDocument/2006/relationships/theme" Target="theme/theme1.xml"/></Relationships>
</file>

<file path=ppt/drawings/_rels/vmlDrawing31.vml.rels><?xml version="1.0" encoding="UTF-8" standalone="yes"?>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2.vml.rels><?xml version="1.0" encoding="UTF-8" standalone="yes"?>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3.vml.rels><?xml version="1.0" encoding="UTF-8" standalone="yes"?>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27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8649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/>
        </p:spPr>
        <p:txBody>
          <a:bodyPr bIns="45720" lIns="91440" rIns="91440" rtlCol="0" tIns="45720" vert="horz"/>
          <a:lstStyle>
            <a:lvl1pPr algn="l">
              <a:defRPr sz="1200"/>
            </a:lvl1pPr>
          </a:lstStyle>
          <a:p>
            <a:endParaRPr sz="900" lang="pt-PT"/>
          </a:p>
        </p:txBody>
      </p:sp>
      <p:sp>
        <p:nvSpPr>
          <p:cNvPr id="1048650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/>
        </p:spPr>
        <p:txBody>
          <a:bodyPr bIns="45720" lIns="91440" rIns="91440" rtlCol="0" tIns="45720" vert="horz"/>
          <a:lstStyle>
            <a:lvl1pPr algn="r">
              <a:defRPr sz="1200"/>
            </a:lvl1pPr>
          </a:lstStyle>
          <a:p>
            <a:fld id="{86C988DC-9DE3-4390-97AB-D61B85DACE57}" type="datetimeFigureOut">
              <a:rPr sz="900" lang="pt-PT" smtClean="0"/>
              <a:t>11/05/2022</a:t>
            </a:fld>
            <a:endParaRPr sz="900" lang="pt-PT"/>
          </a:p>
        </p:txBody>
      </p:sp>
      <p:sp>
        <p:nvSpPr>
          <p:cNvPr id="1048651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/>
        </p:spPr>
        <p:txBody>
          <a:bodyPr anchor="b" bIns="45720" lIns="91440" rIns="91440" rtlCol="0" tIns="45720" vert="horz"/>
          <a:lstStyle>
            <a:lvl1pPr algn="l">
              <a:defRPr sz="1200"/>
            </a:lvl1pPr>
          </a:lstStyle>
          <a:p>
            <a:endParaRPr sz="900" lang="pt-PT"/>
          </a:p>
        </p:txBody>
      </p:sp>
      <p:sp>
        <p:nvSpPr>
          <p:cNvPr id="1048652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/>
        </p:spPr>
        <p:txBody>
          <a:bodyPr anchor="b" bIns="45720" lIns="91440" rIns="91440" rtlCol="0" tIns="45720" vert="horz"/>
          <a:lstStyle>
            <a:lvl1pPr algn="r">
              <a:defRPr sz="1200"/>
            </a:lvl1pPr>
          </a:lstStyle>
          <a:p>
            <a:fld id="{2F190BF9-40D8-49B5-87EF-599BB2C7EE93}" type="slidenum">
              <a:rPr sz="900" lang="pt-PT" smtClean="0"/>
              <a:t>‹#›</a:t>
            </a:fld>
            <a:endParaRPr sz="900" lang="pt-PT"/>
          </a:p>
        </p:txBody>
      </p:sp>
    </p:spTree>
  </p:cSld>
  <p:clrMap accent1="accent1" accent2="accent2" accent3="accent3" accent4="accent4" accent5="accent5" accent6="accent6" bg1="lt1" bg2="lt2" tx1="dk1" tx2="dk2" hlink="hlink" folHlink="folHlink"/>
</p:handoutMaster>
</file>

<file path=ppt/notesMasters/_rels/notesMaster1.xml.rels><?xml version="1.0" encoding="UTF-8" standalone="yes"?>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26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8643" name="Marcador de Posição do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/>
        </p:spPr>
        <p:txBody>
          <a:bodyPr bIns="45720" lIns="91440" rIns="91440" rtlCol="0" tIns="45720" vert="horz"/>
          <a:lstStyle>
            <a:lvl1pPr algn="l">
              <a:defRPr sz="900"/>
            </a:lvl1pPr>
          </a:lstStyle>
          <a:p>
            <a:endParaRPr lang="pt-BR"/>
          </a:p>
        </p:txBody>
      </p:sp>
      <p:sp>
        <p:nvSpPr>
          <p:cNvPr id="1048644" name="Marcador de Posição da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/>
        </p:spPr>
        <p:txBody>
          <a:bodyPr bIns="45720" lIns="91440" rIns="91440" rtlCol="0" tIns="45720" vert="horz"/>
          <a:lstStyle>
            <a:lvl1pPr algn="r">
              <a:defRPr sz="900"/>
            </a:lvl1pPr>
          </a:lstStyle>
          <a:p>
            <a:fld id="{0835B8F7-DAC4-4931-8AED-4356A8B2FD64}" type="datetimeFigureOut">
              <a:rPr lang="pt-BR" smtClean="0"/>
              <a:t>11/05/2022</a:t>
            </a:fld>
            <a:endParaRPr lang="pt-BR"/>
          </a:p>
        </p:txBody>
      </p:sp>
      <p:sp>
        <p:nvSpPr>
          <p:cNvPr id="1048645" name="Marcador de Posição da Imagem do Diapositivo 3"/>
          <p:cNvSpPr>
            <a:spLocks noChangeAspect="1" noRot="1" noGrp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/>
          <a:noFill/>
          <a:ln w="12700">
            <a:solidFill>
              <a:prstClr val="black"/>
            </a:solidFill>
          </a:ln>
        </p:spPr>
        <p:txBody>
          <a:bodyPr anchor="ctr" bIns="45720" lIns="91440" rIns="91440" rtlCol="0" tIns="45720" vert="horz"/>
          <a:p>
            <a:endParaRPr lang="pt-BR"/>
          </a:p>
        </p:txBody>
      </p:sp>
      <p:sp>
        <p:nvSpPr>
          <p:cNvPr id="1048646" name="Marcador de Posição de Nota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/>
        </p:spPr>
        <p:txBody>
          <a:bodyPr bIns="45720" lIns="91440" rIns="91440" rtlCol="0" tIns="45720" vert="horz"/>
          <a:p>
            <a:pPr lvl="0"/>
            <a:r>
              <a:rPr dirty="0" lang="pt-PT"/>
              <a:t>Insert comments</a:t>
            </a:r>
            <a:endParaRPr dirty="0" lang="pt-BR"/>
          </a:p>
        </p:txBody>
      </p:sp>
      <p:sp>
        <p:nvSpPr>
          <p:cNvPr id="1048647" name="Marcador de Posição do Rodapé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/>
        </p:spPr>
        <p:txBody>
          <a:bodyPr anchor="b" bIns="45720" lIns="91440" rIns="91440" rtlCol="0" tIns="45720" vert="horz"/>
          <a:lstStyle>
            <a:lvl1pPr algn="l">
              <a:defRPr sz="900"/>
            </a:lvl1pPr>
          </a:lstStyle>
          <a:p>
            <a:endParaRPr lang="pt-BR"/>
          </a:p>
        </p:txBody>
      </p:sp>
      <p:sp>
        <p:nvSpPr>
          <p:cNvPr id="1048648" name="Marcador de Posição do Número do Diapositivo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/>
        </p:spPr>
        <p:txBody>
          <a:bodyPr anchor="b" bIns="45720" lIns="91440" rIns="91440" rtlCol="0" tIns="45720" vert="horz"/>
          <a:lstStyle>
            <a:lvl1pPr algn="r">
              <a:defRPr sz="900"/>
            </a:lvl1pPr>
          </a:lstStyle>
          <a:p>
            <a:fld id="{C0696B5C-12A0-4042-B4D0-BD3B9A4F58C6}" type="slidenum">
              <a:rPr lang="pt-BR" smtClean="0"/>
              <a:t>‹#›</a:t>
            </a:fld>
            <a:endParaRPr lang="pt-BR"/>
          </a:p>
        </p:txBody>
      </p:sp>
    </p:spTree>
  </p:cSld>
  <p:clrMap accent1="accent1" accent2="accent2" accent3="accent3" accent4="accent4" accent5="accent5" accent6="accent6" bg1="lt1" bg2="lt2" tx1="dk1" tx2="dk2" hlink="hlink" folHlink="folHlink"/>
  <p:notesStyle>
    <a:lvl1pPr algn="l" defTabSz="914400" eaLnBrk="1" hangingPunct="1" latinLnBrk="0" marL="0" rtl="0">
      <a:defRPr sz="900" kern="1200">
        <a:solidFill>
          <a:schemeClr val="tx1"/>
        </a:solidFill>
        <a:latin typeface="+mn-lt"/>
        <a:ea typeface="+mn-ea"/>
        <a:cs typeface="+mn-cs"/>
      </a:defRPr>
    </a:lvl1pPr>
    <a:lvl2pPr algn="l" defTabSz="914400" eaLnBrk="1" hangingPunct="1" latinLnBrk="0" marL="457200" rtl="0">
      <a:defRPr sz="1200" kern="1200">
        <a:solidFill>
          <a:schemeClr val="tx1"/>
        </a:solidFill>
        <a:latin typeface="+mn-lt"/>
        <a:ea typeface="+mn-ea"/>
        <a:cs typeface="+mn-cs"/>
      </a:defRPr>
    </a:lvl2pPr>
    <a:lvl3pPr algn="l" defTabSz="914400" eaLnBrk="1" hangingPunct="1" latinLnBrk="0" marL="914400" rtl="0">
      <a:defRPr sz="1200" kern="1200">
        <a:solidFill>
          <a:schemeClr val="tx1"/>
        </a:solidFill>
        <a:latin typeface="+mn-lt"/>
        <a:ea typeface="+mn-ea"/>
        <a:cs typeface="+mn-cs"/>
      </a:defRPr>
    </a:lvl3pPr>
    <a:lvl4pPr algn="l" defTabSz="914400" eaLnBrk="1" hangingPunct="1" latinLnBrk="0" marL="1371600" rtl="0">
      <a:defRPr sz="1200" kern="1200">
        <a:solidFill>
          <a:schemeClr val="tx1"/>
        </a:solidFill>
        <a:latin typeface="+mn-lt"/>
        <a:ea typeface="+mn-ea"/>
        <a:cs typeface="+mn-cs"/>
      </a:defRPr>
    </a:lvl4pPr>
    <a:lvl5pPr algn="l" defTabSz="914400" eaLnBrk="1" hangingPunct="1" latinLnBrk="0" marL="1828800" rtl="0">
      <a:defRPr sz="1200" kern="1200">
        <a:solidFill>
          <a:schemeClr val="tx1"/>
        </a:solidFill>
        <a:latin typeface="+mn-lt"/>
        <a:ea typeface="+mn-ea"/>
        <a:cs typeface="+mn-cs"/>
      </a:defRPr>
    </a:lvl5pPr>
    <a:lvl6pPr algn="l" defTabSz="914400" eaLnBrk="1" hangingPunct="1" latinLnBrk="0" marL="2286000" rtl="0">
      <a:defRPr sz="1200" kern="1200">
        <a:solidFill>
          <a:schemeClr val="tx1"/>
        </a:solidFill>
        <a:latin typeface="+mn-lt"/>
        <a:ea typeface="+mn-ea"/>
        <a:cs typeface="+mn-cs"/>
      </a:defRPr>
    </a:lvl6pPr>
    <a:lvl7pPr algn="l" defTabSz="914400" eaLnBrk="1" hangingPunct="1" latinLnBrk="0" marL="2743200" rtl="0">
      <a:defRPr sz="1200" kern="1200">
        <a:solidFill>
          <a:schemeClr val="tx1"/>
        </a:solidFill>
        <a:latin typeface="+mn-lt"/>
        <a:ea typeface="+mn-ea"/>
        <a:cs typeface="+mn-cs"/>
      </a:defRPr>
    </a:lvl7pPr>
    <a:lvl8pPr algn="l" defTabSz="914400" eaLnBrk="1" hangingPunct="1" latinLnBrk="0" marL="3200400" rtl="0">
      <a:defRPr sz="1200" kern="1200">
        <a:solidFill>
          <a:schemeClr val="tx1"/>
        </a:solidFill>
        <a:latin typeface="+mn-lt"/>
        <a:ea typeface="+mn-ea"/>
        <a:cs typeface="+mn-cs"/>
      </a:defRPr>
    </a:lvl8pPr>
    <a:lvl9pPr algn="l" defTabSz="914400" eaLnBrk="1" hangingPunct="1" latinLnBrk="0" marL="3657600" rtl="0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
<Relationships xmlns="http://schemas.openxmlformats.org/package/2006/relationships"><Relationship Id="rId1" Type="http://schemas.openxmlformats.org/officeDocument/2006/relationships/slide" Target="../slides/slide1.xml"/><Relationship Id="rId2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8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8611" name="Slide Image Placeholder 1"/>
          <p:cNvSpPr>
            <a:spLocks noChangeAspect="1" noRot="1" noGrp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048612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anchor="t" anchorCtr="0" compatLnSpc="1" numCol="1" wrap="square">
            <a:prstTxWarp prst="textNoShape"/>
          </a:bodyPr>
          <a:p>
            <a:pPr eaLnBrk="1" hangingPunct="1">
              <a:spcBef>
                <a:spcPct val="0"/>
              </a:spcBef>
            </a:pPr>
            <a:endParaRPr altLang="nl-NL" lang="nl-NL"/>
          </a:p>
        </p:txBody>
      </p:sp>
    </p:spTree>
  </p:cSld>
  <p:clrMapOvr>
    <a:masterClrMapping/>
  </p:clrMapOvr>
</p:notes>
</file>

<file path=ppt/slideLayouts/_rels/slideLayout1.xml.rels><?xml version="1.0" encoding="UTF-8" standalone="yes"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
<Relationships xmlns="http://schemas.openxmlformats.org/package/2006/relationships"><Relationship Id="rId1" Type="http://schemas.openxmlformats.org/officeDocument/2006/relationships/image" Target="../media/image1.png"/><Relationship Id="rId2" Type="http://schemas.openxmlformats.org/officeDocument/2006/relationships/slideMaster" Target="../slideMasters/slideMaster1.xml"/></Relationships>
</file>

<file path=ppt/slideLayouts/_rels/slideLayout4.xml.rels><?xml version="1.0" encoding="UTF-8" standalone="yes"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
<Relationships xmlns="http://schemas.openxmlformats.org/package/2006/relationships"><Relationship Id="rId1" Type="http://schemas.openxmlformats.org/officeDocument/2006/relationships/tags" Target="../tags/tag1.xml"/><Relationship Id="rId2" Type="http://schemas.openxmlformats.org/officeDocument/2006/relationships/oleObject" Target="../embeddings/oleObject0.bin"/><Relationship Id="rId3" Type="http://schemas.openxmlformats.org/officeDocument/2006/relationships/image" Target="../media/image2.emf"/><Relationship Id="rId4" Type="http://schemas.openxmlformats.org/officeDocument/2006/relationships/vmlDrawing" Target="../drawings/vmlDrawing31.vml"/><Relationship Id="rId5" Type="http://schemas.openxmlformats.org/officeDocument/2006/relationships/slideMaster" Target="../slideMasters/slideMaster1.xml"/></Relationships>
</file>

<file path=ppt/slideLayouts/_rels/slideLayout6.xml.rels><?xml version="1.0" encoding="UTF-8" standalone="yes"?>
<Relationships xmlns="http://schemas.openxmlformats.org/package/2006/relationships"><Relationship Id="rId1" Type="http://schemas.openxmlformats.org/officeDocument/2006/relationships/tags" Target="../tags/tag2.xml"/><Relationship Id="rId2" Type="http://schemas.openxmlformats.org/officeDocument/2006/relationships/oleObject" Target="../embeddings/oleObject1.bin"/><Relationship Id="rId3" Type="http://schemas.openxmlformats.org/officeDocument/2006/relationships/image" Target="../media/image2.emf"/><Relationship Id="rId4" Type="http://schemas.openxmlformats.org/officeDocument/2006/relationships/vmlDrawing" Target="../drawings/vmlDrawing32.vml"/><Relationship Id="rId5" Type="http://schemas.openxmlformats.org/officeDocument/2006/relationships/slideMaster" Target="../slideMasters/slideMaster1.xml"/></Relationships>
</file>

<file path=ppt/slideLayouts/_rels/slideLayout7.xml.rels><?xml version="1.0" encoding="UTF-8" standalone="yes"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
<Relationships xmlns="http://schemas.openxmlformats.org/package/2006/relationships"><Relationship Id="rId1" Type="http://schemas.openxmlformats.org/officeDocument/2006/relationships/image" Target="../media/image3.png"/><Relationship Id="rId2" Type="http://schemas.openxmlformats.org/officeDocument/2006/relationships/image" Target="../media/image4.png"/><Relationship Id="rId3" Type="http://schemas.openxmlformats.org/officeDocument/2006/relationships/image" Target="../media/image5.png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9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8613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27348" y="1815352"/>
            <a:ext cx="11700000" cy="4466201"/>
          </a:xfrm>
        </p:spPr>
        <p:txBody>
          <a:bodyPr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 lang="en-US"/>
          </a:p>
        </p:txBody>
      </p:sp>
      <p:sp>
        <p:nvSpPr>
          <p:cNvPr id="1048614" name="Titre 2"/>
          <p:cNvSpPr>
            <a:spLocks noGrp="1"/>
          </p:cNvSpPr>
          <p:nvPr>
            <p:ph type="title"/>
          </p:nvPr>
        </p:nvSpPr>
        <p:spPr/>
        <p:txBody>
          <a:bodyPr/>
          <a:p>
            <a:r>
              <a:rPr lang="en-US"/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 ">
    <p:spTree>
      <p:nvGrpSpPr>
        <p:cNvPr id="2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8616" name="Title 1"/>
          <p:cNvSpPr>
            <a:spLocks noGrp="1"/>
          </p:cNvSpPr>
          <p:nvPr>
            <p:ph type="title"/>
          </p:nvPr>
        </p:nvSpPr>
        <p:spPr>
          <a:xfrm>
            <a:off x="227349" y="0"/>
            <a:ext cx="11125236" cy="1104900"/>
          </a:xfrm>
        </p:spPr>
        <p:txBody>
          <a:bodyPr/>
          <a:p>
            <a:r>
              <a:rPr lang="en-US"/>
              <a:t>Click to edit Master title style</a:t>
            </a:r>
            <a:endParaRPr dirty="0" lang="en-GB"/>
          </a:p>
        </p:txBody>
      </p:sp>
      <p:sp>
        <p:nvSpPr>
          <p:cNvPr id="1048617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27348" y="1815351"/>
            <a:ext cx="11700000" cy="4466201"/>
          </a:xfrm>
        </p:spPr>
        <p:txBody>
          <a:bodyPr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 lang="en-US"/>
          </a:p>
        </p:txBody>
      </p:sp>
      <p:sp>
        <p:nvSpPr>
          <p:cNvPr id="1048618" name="Espace réservé du texte 4"/>
          <p:cNvSpPr>
            <a:spLocks noGrp="1"/>
          </p:cNvSpPr>
          <p:nvPr>
            <p:ph type="body" sz="quarter" idx="11" hasCustomPrompt="1"/>
          </p:nvPr>
        </p:nvSpPr>
        <p:spPr>
          <a:xfrm>
            <a:off x="227349" y="1148607"/>
            <a:ext cx="11700000" cy="504056"/>
          </a:xfrm>
          <a:prstGeom prst="rect"/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pPr lvl="0"/>
            <a:r>
              <a:rPr dirty="0" lang="en-US"/>
              <a:t>Click to edit Master subtitle styles</a:t>
            </a: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Two columns">
    <p:spTree>
      <p:nvGrpSpPr>
        <p:cNvPr id="22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8619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227349" y="2205319"/>
            <a:ext cx="5400000" cy="4076234"/>
          </a:xfrm>
          <a:prstGeom prst="rect"/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600"/>
            </a:lvl1pPr>
            <a:lvl2pPr>
              <a:lnSpc>
                <a:spcPct val="100000"/>
              </a:lnSpc>
              <a:spcBef>
                <a:spcPts val="0"/>
              </a:spcBef>
              <a:defRPr sz="1600"/>
            </a:lvl2pPr>
            <a:lvl3pPr>
              <a:lnSpc>
                <a:spcPct val="100000"/>
              </a:lnSpc>
              <a:spcBef>
                <a:spcPts val="0"/>
              </a:spcBef>
              <a:defRPr sz="1600"/>
            </a:lvl3pPr>
            <a:lvl4pPr>
              <a:lnSpc>
                <a:spcPct val="100000"/>
              </a:lnSpc>
              <a:spcBef>
                <a:spcPts val="0"/>
              </a:spcBef>
              <a:defRPr sz="1600"/>
            </a:lvl4pPr>
            <a:lvl5pPr>
              <a:lnSpc>
                <a:spcPct val="100000"/>
              </a:lnSpc>
              <a:spcBef>
                <a:spcPts val="0"/>
              </a:spcBef>
              <a:defRPr sz="16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 lang="en-US"/>
          </a:p>
        </p:txBody>
      </p:sp>
      <p:sp>
        <p:nvSpPr>
          <p:cNvPr id="1048620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227349" y="1420989"/>
            <a:ext cx="5400000" cy="743987"/>
          </a:xfrm>
          <a:prstGeom prst="rect"/>
        </p:spPr>
        <p:txBody>
          <a:bodyPr anchor="ctr" anchorCtr="0">
            <a:noAutofit/>
          </a:bodyPr>
          <a:lstStyle>
            <a:lvl1pPr>
              <a:lnSpc>
                <a:spcPct val="100000"/>
              </a:lnSpc>
              <a:defRPr b="1" sz="1800">
                <a:solidFill>
                  <a:srgbClr val="12ABDB"/>
                </a:solidFill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dirty="0" lang="en-US"/>
              <a:t>Click to insert title</a:t>
            </a:r>
          </a:p>
        </p:txBody>
      </p:sp>
      <p:sp>
        <p:nvSpPr>
          <p:cNvPr id="1048621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474016" y="1420989"/>
            <a:ext cx="5400000" cy="743987"/>
          </a:xfrm>
          <a:prstGeom prst="rect"/>
        </p:spPr>
        <p:txBody>
          <a:bodyPr anchor="ctr" anchorCtr="0">
            <a:noAutofit/>
          </a:bodyPr>
          <a:lstStyle>
            <a:lvl1pPr>
              <a:lnSpc>
                <a:spcPct val="100000"/>
              </a:lnSpc>
              <a:defRPr b="1" sz="1800">
                <a:solidFill>
                  <a:srgbClr val="12ABDB"/>
                </a:solidFill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dirty="0" lang="en-US"/>
              <a:t>Click to insert title</a:t>
            </a:r>
          </a:p>
        </p:txBody>
      </p:sp>
      <p:pic>
        <p:nvPicPr>
          <p:cNvPr id="2097160" name="Graphic 9"/>
          <p:cNvPicPr>
            <a:picLocks noChangeAspect="1"/>
          </p:cNvPicPr>
          <p:nvPr userDrawn="1"/>
        </p:nvPicPr>
        <p:blipFill rotWithShape="1">
          <a:blip xmlns:r="http://schemas.openxmlformats.org/officeDocument/2006/relationships" r:embed="rId1" cstate="print"/>
          <a:srcRect l="81836" t="-4713" b="16530"/>
          <a:stretch>
            <a:fillRect/>
          </a:stretch>
        </p:blipFill>
        <p:spPr>
          <a:xfrm>
            <a:off x="11491419" y="164829"/>
            <a:ext cx="424356" cy="459624"/>
          </a:xfrm>
          <a:prstGeom prst="rect"/>
        </p:spPr>
      </p:pic>
      <p:sp>
        <p:nvSpPr>
          <p:cNvPr id="1048622" name="Titre 1"/>
          <p:cNvSpPr>
            <a:spLocks noGrp="1"/>
          </p:cNvSpPr>
          <p:nvPr>
            <p:ph type="title"/>
          </p:nvPr>
        </p:nvSpPr>
        <p:spPr>
          <a:xfrm>
            <a:off x="227349" y="0"/>
            <a:ext cx="11125236" cy="1104900"/>
          </a:xfrm>
        </p:spPr>
        <p:txBody>
          <a:bodyPr/>
          <a:p>
            <a:r>
              <a:rPr lang="en-US"/>
              <a:t>Click to edit Master title style</a:t>
            </a:r>
            <a:endParaRPr dirty="0" lang="en-US"/>
          </a:p>
        </p:txBody>
      </p:sp>
      <p:sp>
        <p:nvSpPr>
          <p:cNvPr id="1048623" name="Text Placeholder 7"/>
          <p:cNvSpPr>
            <a:spLocks noGrp="1"/>
          </p:cNvSpPr>
          <p:nvPr>
            <p:ph type="body" sz="quarter" idx="14"/>
          </p:nvPr>
        </p:nvSpPr>
        <p:spPr>
          <a:xfrm>
            <a:off x="6474016" y="2205319"/>
            <a:ext cx="5400000" cy="4076234"/>
          </a:xfrm>
          <a:prstGeom prst="rect"/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600"/>
            </a:lvl1pPr>
            <a:lvl2pPr>
              <a:lnSpc>
                <a:spcPct val="100000"/>
              </a:lnSpc>
              <a:spcBef>
                <a:spcPts val="0"/>
              </a:spcBef>
              <a:defRPr sz="1600"/>
            </a:lvl2pPr>
            <a:lvl3pPr>
              <a:lnSpc>
                <a:spcPct val="100000"/>
              </a:lnSpc>
              <a:spcBef>
                <a:spcPts val="0"/>
              </a:spcBef>
              <a:defRPr sz="1600"/>
            </a:lvl3pPr>
            <a:lvl4pPr>
              <a:lnSpc>
                <a:spcPct val="100000"/>
              </a:lnSpc>
              <a:spcBef>
                <a:spcPts val="0"/>
              </a:spcBef>
              <a:defRPr sz="1600"/>
            </a:lvl4pPr>
            <a:lvl5pPr>
              <a:lnSpc>
                <a:spcPct val="100000"/>
              </a:lnSpc>
              <a:spcBef>
                <a:spcPts val="0"/>
              </a:spcBef>
              <a:defRPr sz="16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 lang="en-US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3 columns">
    <p:spTree>
      <p:nvGrpSpPr>
        <p:cNvPr id="23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8624" name="Title 1"/>
          <p:cNvSpPr>
            <a:spLocks noGrp="1"/>
          </p:cNvSpPr>
          <p:nvPr>
            <p:ph type="title"/>
          </p:nvPr>
        </p:nvSpPr>
        <p:spPr/>
        <p:txBody>
          <a:bodyPr/>
          <a:p>
            <a:r>
              <a:rPr lang="en-US"/>
              <a:t>Click to edit Master title style</a:t>
            </a:r>
            <a:endParaRPr dirty="0" lang="en-GB"/>
          </a:p>
        </p:txBody>
      </p:sp>
      <p:sp>
        <p:nvSpPr>
          <p:cNvPr id="1048625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227350" y="2205319"/>
            <a:ext cx="3537827" cy="4076234"/>
          </a:xfrm>
          <a:prstGeom prst="rect"/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/>
            </a:lvl1pPr>
            <a:lvl2pPr>
              <a:lnSpc>
                <a:spcPct val="100000"/>
              </a:lnSpc>
              <a:spcBef>
                <a:spcPts val="0"/>
              </a:spcBef>
              <a:defRPr sz="1400"/>
            </a:lvl2pPr>
            <a:lvl3pPr>
              <a:lnSpc>
                <a:spcPct val="100000"/>
              </a:lnSpc>
              <a:spcBef>
                <a:spcPts val="0"/>
              </a:spcBef>
              <a:defRPr sz="1400"/>
            </a:lvl3pPr>
            <a:lvl4pPr>
              <a:lnSpc>
                <a:spcPct val="100000"/>
              </a:lnSpc>
              <a:spcBef>
                <a:spcPts val="0"/>
              </a:spcBef>
              <a:defRPr sz="1400"/>
            </a:lvl4pPr>
            <a:lvl5pPr>
              <a:lnSpc>
                <a:spcPct val="100000"/>
              </a:lnSpc>
              <a:spcBef>
                <a:spcPts val="0"/>
              </a:spcBef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 lang="en-US"/>
          </a:p>
        </p:txBody>
      </p:sp>
      <p:sp>
        <p:nvSpPr>
          <p:cNvPr id="1048626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227350" y="1420989"/>
            <a:ext cx="3537827" cy="743987"/>
          </a:xfrm>
          <a:prstGeom prst="rect"/>
        </p:spPr>
        <p:txBody>
          <a:bodyPr anchor="ctr" anchorCtr="0" bIns="0" lIns="0" rIns="0" rtlCol="0" tIns="0" vert="horz">
            <a:noAutofit/>
          </a:bodyPr>
          <a:lstStyle>
            <a:lvl1pPr algn="ctr">
              <a:lnSpc>
                <a:spcPct val="100000"/>
              </a:lnSpc>
              <a:defRPr b="1" dirty="0" sz="1600" kern="1200" lang="en-US">
                <a:solidFill>
                  <a:srgbClr val="12ABDB"/>
                </a:solidFill>
                <a:latin typeface="+mj-lt"/>
                <a:ea typeface="+mn-ea"/>
                <a:cs typeface="+mn-cs"/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algn="l" defTabSz="914400" eaLnBrk="1" hangingPunct="1" indent="0" latinLnBrk="0" lvl="0" marL="0" rtl="0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dirty="0" lang="en-US"/>
              <a:t>Click to insert title</a:t>
            </a:r>
          </a:p>
        </p:txBody>
      </p:sp>
      <p:sp>
        <p:nvSpPr>
          <p:cNvPr id="1048627" name="Text Placeholder 7"/>
          <p:cNvSpPr>
            <a:spLocks noGrp="1"/>
          </p:cNvSpPr>
          <p:nvPr>
            <p:ph type="body" sz="quarter" idx="14"/>
          </p:nvPr>
        </p:nvSpPr>
        <p:spPr>
          <a:xfrm>
            <a:off x="4313358" y="2205319"/>
            <a:ext cx="3537827" cy="4076234"/>
          </a:xfrm>
          <a:prstGeom prst="rect"/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/>
            </a:lvl1pPr>
            <a:lvl2pPr>
              <a:lnSpc>
                <a:spcPct val="100000"/>
              </a:lnSpc>
              <a:spcBef>
                <a:spcPts val="0"/>
              </a:spcBef>
              <a:defRPr sz="1400"/>
            </a:lvl2pPr>
            <a:lvl3pPr>
              <a:lnSpc>
                <a:spcPct val="100000"/>
              </a:lnSpc>
              <a:spcBef>
                <a:spcPts val="0"/>
              </a:spcBef>
              <a:defRPr sz="1400"/>
            </a:lvl3pPr>
            <a:lvl4pPr>
              <a:lnSpc>
                <a:spcPct val="100000"/>
              </a:lnSpc>
              <a:spcBef>
                <a:spcPts val="0"/>
              </a:spcBef>
              <a:defRPr sz="1400"/>
            </a:lvl4pPr>
            <a:lvl5pPr>
              <a:lnSpc>
                <a:spcPct val="100000"/>
              </a:lnSpc>
              <a:spcBef>
                <a:spcPts val="0"/>
              </a:spcBef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 lang="en-US"/>
          </a:p>
        </p:txBody>
      </p:sp>
      <p:sp>
        <p:nvSpPr>
          <p:cNvPr id="1048628" name="Text Placeholder 7"/>
          <p:cNvSpPr>
            <a:spLocks noGrp="1"/>
          </p:cNvSpPr>
          <p:nvPr>
            <p:ph type="body" sz="quarter" idx="15" hasCustomPrompt="1"/>
          </p:nvPr>
        </p:nvSpPr>
        <p:spPr>
          <a:xfrm>
            <a:off x="4313358" y="1420989"/>
            <a:ext cx="3537827" cy="743987"/>
          </a:xfrm>
          <a:prstGeom prst="rect"/>
        </p:spPr>
        <p:txBody>
          <a:bodyPr anchor="ctr" anchorCtr="0" bIns="0" lIns="0" rIns="0" rtlCol="0" tIns="0" vert="horz">
            <a:noAutofit/>
          </a:bodyPr>
          <a:lstStyle>
            <a:lvl1pPr algn="ctr">
              <a:lnSpc>
                <a:spcPct val="100000"/>
              </a:lnSpc>
              <a:defRPr b="1" dirty="0" sz="1600" kern="1200" lang="en-US">
                <a:solidFill>
                  <a:srgbClr val="12ABDB"/>
                </a:solidFill>
                <a:latin typeface="+mj-lt"/>
                <a:ea typeface="+mn-ea"/>
                <a:cs typeface="+mn-cs"/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algn="l" defTabSz="914400" eaLnBrk="1" hangingPunct="1" indent="0" latinLnBrk="0" lvl="0" marL="0" rtl="0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dirty="0" lang="en-US"/>
              <a:t>Click to insert title</a:t>
            </a:r>
          </a:p>
        </p:txBody>
      </p:sp>
      <p:sp>
        <p:nvSpPr>
          <p:cNvPr id="1048629" name="Text Placeholder 7"/>
          <p:cNvSpPr>
            <a:spLocks noGrp="1"/>
          </p:cNvSpPr>
          <p:nvPr>
            <p:ph type="body" sz="quarter" idx="16"/>
          </p:nvPr>
        </p:nvSpPr>
        <p:spPr>
          <a:xfrm>
            <a:off x="8384125" y="2205319"/>
            <a:ext cx="3537827" cy="4076234"/>
          </a:xfrm>
          <a:prstGeom prst="rect"/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/>
            </a:lvl1pPr>
            <a:lvl2pPr>
              <a:lnSpc>
                <a:spcPct val="100000"/>
              </a:lnSpc>
              <a:spcBef>
                <a:spcPts val="0"/>
              </a:spcBef>
              <a:defRPr sz="1400"/>
            </a:lvl2pPr>
            <a:lvl3pPr>
              <a:lnSpc>
                <a:spcPct val="100000"/>
              </a:lnSpc>
              <a:spcBef>
                <a:spcPts val="0"/>
              </a:spcBef>
              <a:defRPr sz="1400"/>
            </a:lvl3pPr>
            <a:lvl4pPr>
              <a:lnSpc>
                <a:spcPct val="100000"/>
              </a:lnSpc>
              <a:spcBef>
                <a:spcPts val="0"/>
              </a:spcBef>
              <a:defRPr sz="1400"/>
            </a:lvl4pPr>
            <a:lvl5pPr>
              <a:lnSpc>
                <a:spcPct val="100000"/>
              </a:lnSpc>
              <a:spcBef>
                <a:spcPts val="0"/>
              </a:spcBef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 lang="en-US"/>
          </a:p>
        </p:txBody>
      </p:sp>
      <p:sp>
        <p:nvSpPr>
          <p:cNvPr id="1048630" name="Text Placeholder 7"/>
          <p:cNvSpPr>
            <a:spLocks noGrp="1"/>
          </p:cNvSpPr>
          <p:nvPr>
            <p:ph type="body" sz="quarter" idx="17" hasCustomPrompt="1"/>
          </p:nvPr>
        </p:nvSpPr>
        <p:spPr>
          <a:xfrm>
            <a:off x="8384125" y="1420989"/>
            <a:ext cx="3537827" cy="743987"/>
          </a:xfrm>
          <a:prstGeom prst="rect"/>
        </p:spPr>
        <p:txBody>
          <a:bodyPr anchor="ctr" anchorCtr="0" bIns="0" lIns="0" rIns="0" rtlCol="0" tIns="0" vert="horz">
            <a:noAutofit/>
          </a:bodyPr>
          <a:lstStyle>
            <a:lvl1pPr algn="ctr">
              <a:lnSpc>
                <a:spcPct val="100000"/>
              </a:lnSpc>
              <a:defRPr b="1" dirty="0" sz="1600" kern="1200" lang="en-US">
                <a:solidFill>
                  <a:srgbClr val="12ABDB"/>
                </a:solidFill>
                <a:latin typeface="+mj-lt"/>
                <a:ea typeface="+mn-ea"/>
                <a:cs typeface="+mn-cs"/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algn="l" defTabSz="914400" eaLnBrk="1" hangingPunct="1" indent="0" latinLnBrk="0" lvl="0" marL="0" rtl="0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dirty="0" lang="en-US"/>
              <a:t>Click to insert title</a:t>
            </a:r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ith numbering,  subtitle and content">
    <p:spTree>
      <p:nvGrpSpPr>
        <p:cNvPr id="24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94306" name="Object 1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" spid="_x0000_s2049" imgH="270" imgW="270" progId="TCLayout.ActiveDocument.1">
                  <p:embed/>
                </p:oleObj>
              </mc:Choice>
              <mc:Fallback>
                <p:oleObj name="think-cell Slide" r:id="rId2" spid="" imgH="270" imgW="270" progId="TCLayout.ActiveDocument.1">
                  <p:embed/>
                  <p:pic>
                    <p:nvPicPr>
                      <p:cNvPr id="2097161" name="Object 1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xmlns:r="http://schemas.openxmlformats.org/officeDocument/2006/relationships" r:embed="rId3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/>
                      <a:noFill/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48631" name="Rectangle 17"/>
          <p:cNvSpPr/>
          <p:nvPr userDrawn="1"/>
        </p:nvSpPr>
        <p:spPr>
          <a:xfrm>
            <a:off x="0" y="0"/>
            <a:ext cx="919998" cy="428625"/>
          </a:xfrm>
          <a:prstGeom prst="rect"/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rtlCol="0"/>
          <a:p>
            <a:pPr algn="ctr"/>
            <a:endParaRPr dirty="0" lang="en-GB"/>
          </a:p>
        </p:txBody>
      </p:sp>
      <p:sp>
        <p:nvSpPr>
          <p:cNvPr id="1048632" name="Freeform 6"/>
          <p:cNvSpPr/>
          <p:nvPr userDrawn="1"/>
        </p:nvSpPr>
        <p:spPr bwMode="auto">
          <a:xfrm>
            <a:off x="0" y="0"/>
            <a:ext cx="919998" cy="1146174"/>
          </a:xfrm>
          <a:custGeom>
            <a:avLst/>
            <a:ahLst/>
            <a:cxnLst>
              <a:cxn ang="0">
                <a:pos x="1681" y="25"/>
              </a:cxn>
              <a:cxn ang="0">
                <a:pos x="1655" y="0"/>
              </a:cxn>
              <a:cxn ang="0">
                <a:pos x="22" y="0"/>
              </a:cxn>
              <a:cxn ang="0">
                <a:pos x="0" y="23"/>
              </a:cxn>
              <a:cxn ang="0">
                <a:pos x="0" y="2095"/>
              </a:cxn>
              <a:cxn ang="0">
                <a:pos x="336" y="2085"/>
              </a:cxn>
              <a:cxn ang="0">
                <a:pos x="682" y="2056"/>
              </a:cxn>
              <a:cxn ang="0">
                <a:pos x="897" y="2032"/>
              </a:cxn>
              <a:cxn ang="0">
                <a:pos x="1082" y="2005"/>
              </a:cxn>
              <a:cxn ang="0">
                <a:pos x="1332" y="1960"/>
              </a:cxn>
              <a:cxn ang="0">
                <a:pos x="1567" y="1911"/>
              </a:cxn>
              <a:cxn ang="0">
                <a:pos x="1680" y="1883"/>
              </a:cxn>
              <a:cxn ang="0">
                <a:pos x="1681" y="25"/>
              </a:cxn>
            </a:cxnLst>
            <a:rect l="0" t="0" r="r" b="b"/>
            <a:pathLst>
              <a:path w="1681" h="2095">
                <a:moveTo>
                  <a:pt x="1681" y="25"/>
                </a:moveTo>
                <a:cubicBezTo>
                  <a:pt x="1681" y="3"/>
                  <a:pt x="1675" y="0"/>
                  <a:pt x="1655" y="0"/>
                </a:cubicBezTo>
                <a:cubicBezTo>
                  <a:pt x="1111" y="1"/>
                  <a:pt x="567" y="1"/>
                  <a:pt x="22" y="0"/>
                </a:cubicBezTo>
                <a:cubicBezTo>
                  <a:pt x="5" y="0"/>
                  <a:pt x="0" y="3"/>
                  <a:pt x="0" y="23"/>
                </a:cubicBezTo>
                <a:cubicBezTo>
                  <a:pt x="0" y="713"/>
                  <a:pt x="0" y="1404"/>
                  <a:pt x="0" y="2095"/>
                </a:cubicBezTo>
                <a:cubicBezTo>
                  <a:pt x="112" y="2091"/>
                  <a:pt x="224" y="2088"/>
                  <a:pt x="336" y="2085"/>
                </a:cubicBezTo>
                <a:cubicBezTo>
                  <a:pt x="452" y="2081"/>
                  <a:pt x="567" y="2068"/>
                  <a:pt x="682" y="2056"/>
                </a:cubicBezTo>
                <a:cubicBezTo>
                  <a:pt x="754" y="2049"/>
                  <a:pt x="826" y="2045"/>
                  <a:pt x="897" y="2032"/>
                </a:cubicBezTo>
                <a:cubicBezTo>
                  <a:pt x="958" y="2020"/>
                  <a:pt x="1021" y="2018"/>
                  <a:pt x="1082" y="2005"/>
                </a:cubicBezTo>
                <a:cubicBezTo>
                  <a:pt x="1165" y="1989"/>
                  <a:pt x="1249" y="1977"/>
                  <a:pt x="1332" y="1960"/>
                </a:cubicBezTo>
                <a:cubicBezTo>
                  <a:pt x="1410" y="1945"/>
                  <a:pt x="1489" y="1928"/>
                  <a:pt x="1567" y="1911"/>
                </a:cubicBezTo>
                <a:cubicBezTo>
                  <a:pt x="1605" y="1904"/>
                  <a:pt x="1643" y="1895"/>
                  <a:pt x="1680" y="1883"/>
                </a:cubicBezTo>
                <a:cubicBezTo>
                  <a:pt x="1680" y="1263"/>
                  <a:pt x="1680" y="644"/>
                  <a:pt x="1681" y="25"/>
                </a:cubicBezTo>
                <a:close/>
              </a:path>
            </a:pathLst>
          </a:cu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anchor="t" anchorCtr="0" bIns="45720" compatLnSpc="1" lIns="91440" numCol="1" rIns="91440" tIns="45720" vert="horz" wrap="square">
            <a:prstTxWarp prst="textNoShape"/>
          </a:bodyPr>
          <a:p>
            <a:endParaRPr dirty="0" lang="en-GB"/>
          </a:p>
        </p:txBody>
      </p:sp>
      <p:sp>
        <p:nvSpPr>
          <p:cNvPr id="1048633" name="Title 1"/>
          <p:cNvSpPr>
            <a:spLocks noGrp="1"/>
          </p:cNvSpPr>
          <p:nvPr>
            <p:ph type="title"/>
          </p:nvPr>
        </p:nvSpPr>
        <p:spPr>
          <a:xfrm>
            <a:off x="974872" y="0"/>
            <a:ext cx="10377711" cy="1104900"/>
          </a:xfrm>
        </p:spPr>
        <p:txBody>
          <a:bodyPr/>
          <a:p>
            <a:r>
              <a:rPr lang="en-US"/>
              <a:t>Click to edit Master title style</a:t>
            </a:r>
            <a:endParaRPr dirty="0" lang="en-GB"/>
          </a:p>
        </p:txBody>
      </p:sp>
      <p:sp>
        <p:nvSpPr>
          <p:cNvPr id="104863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27347" y="1815351"/>
            <a:ext cx="11700000" cy="4467600"/>
          </a:xfrm>
        </p:spPr>
        <p:txBody>
          <a:bodyPr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 lang="en-US"/>
          </a:p>
        </p:txBody>
      </p:sp>
      <p:sp>
        <p:nvSpPr>
          <p:cNvPr id="1048635" name="Espace réservé du texte 4"/>
          <p:cNvSpPr>
            <a:spLocks noGrp="1"/>
          </p:cNvSpPr>
          <p:nvPr>
            <p:ph type="body" sz="quarter" idx="11" hasCustomPrompt="1"/>
          </p:nvPr>
        </p:nvSpPr>
        <p:spPr>
          <a:xfrm>
            <a:off x="974872" y="1148607"/>
            <a:ext cx="10940903" cy="504056"/>
          </a:xfrm>
          <a:prstGeom prst="rect"/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pPr lvl="0"/>
            <a:r>
              <a:rPr dirty="0" lang="en-US"/>
              <a:t>Click to edit Master subtitle styles</a:t>
            </a:r>
          </a:p>
        </p:txBody>
      </p:sp>
      <p:sp>
        <p:nvSpPr>
          <p:cNvPr id="1048636" name="Text Placeholder 16"/>
          <p:cNvSpPr>
            <a:spLocks noGrp="1"/>
          </p:cNvSpPr>
          <p:nvPr>
            <p:ph type="body" sz="quarter" idx="12" hasCustomPrompt="1"/>
          </p:nvPr>
        </p:nvSpPr>
        <p:spPr>
          <a:xfrm>
            <a:off x="0" y="48742"/>
            <a:ext cx="914400" cy="914400"/>
          </a:xfrm>
        </p:spPr>
        <p:txBody>
          <a:bodyPr anchor="ctr">
            <a:normAutofit/>
          </a:bodyPr>
          <a:lstStyle>
            <a:lvl1pPr algn="ctr" defTabSz="914400" eaLnBrk="1" hangingPunct="1" indent="0" latinLnBrk="0" marL="0" rtl="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dirty="0" sz="4000" kern="1200" lang="en-GB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dirty="0" lang="en-US"/>
              <a:t>#</a:t>
            </a:r>
            <a:endParaRPr dirty="0" lang="en-GB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20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94305" name="Object 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" spid="_x0000_s3073" imgH="270" imgW="270" progId="TCLayout.ActiveDocument.1">
                  <p:embed/>
                </p:oleObj>
              </mc:Choice>
              <mc:Fallback>
                <p:oleObj name="think-cell Slide" r:id="rId2" spid="" imgH="270" imgW="270" progId="TCLayout.ActiveDocument.1">
                  <p:embed/>
                  <p:pic>
                    <p:nvPicPr>
                      <p:cNvPr id="2097158" name="Object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xmlns:r="http://schemas.openxmlformats.org/officeDocument/2006/relationships" r:embed="rId3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/>
                      <a:noFill/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48615" name="Title 1"/>
          <p:cNvSpPr>
            <a:spLocks noGrp="1"/>
          </p:cNvSpPr>
          <p:nvPr>
            <p:ph type="title"/>
          </p:nvPr>
        </p:nvSpPr>
        <p:spPr/>
        <p:txBody>
          <a:bodyPr/>
          <a:p>
            <a:r>
              <a:rPr lang="en-US"/>
              <a:t>Click to edit Master title style</a:t>
            </a:r>
            <a:endParaRPr dirty="0" lang="en-GB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-Single Profile">
    <p:spTree>
      <p:nvGrpSpPr>
        <p:cNvPr id="25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8637" name="Freeform: Shape 11"/>
          <p:cNvSpPr/>
          <p:nvPr userDrawn="1"/>
        </p:nvSpPr>
        <p:spPr>
          <a:xfrm flipV="1">
            <a:off x="1" y="0"/>
            <a:ext cx="5204012" cy="3119718"/>
          </a:xfrm>
          <a:custGeom>
            <a:avLst/>
            <a:gdLst>
              <a:gd name="connsiteX0" fmla="*/ 2836724 w 6262141"/>
              <a:gd name="connsiteY0" fmla="*/ 775 h 4159686"/>
              <a:gd name="connsiteX1" fmla="*/ 3822188 w 6262141"/>
              <a:gd name="connsiteY1" fmla="*/ 22965 h 4159686"/>
              <a:gd name="connsiteX2" fmla="*/ 5982756 w 6262141"/>
              <a:gd name="connsiteY2" fmla="*/ 3706589 h 4159686"/>
              <a:gd name="connsiteX3" fmla="*/ 6262141 w 6262141"/>
              <a:gd name="connsiteY3" fmla="*/ 4159686 h 4159686"/>
              <a:gd name="connsiteX4" fmla="*/ 0 w 6262141"/>
              <a:gd name="connsiteY4" fmla="*/ 4159686 h 4159686"/>
              <a:gd name="connsiteX5" fmla="*/ 0 w 6262141"/>
              <a:gd name="connsiteY5" fmla="*/ 3700458 h 4159686"/>
              <a:gd name="connsiteX6" fmla="*/ 0 w 6262141"/>
              <a:gd name="connsiteY6" fmla="*/ 3329154 h 4159686"/>
              <a:gd name="connsiteX7" fmla="*/ 0 w 6262141"/>
              <a:gd name="connsiteY7" fmla="*/ 2944589 h 4159686"/>
              <a:gd name="connsiteX8" fmla="*/ 0 w 6262141"/>
              <a:gd name="connsiteY8" fmla="*/ 2546533 h 4159686"/>
              <a:gd name="connsiteX9" fmla="*/ 0 w 6262141"/>
              <a:gd name="connsiteY9" fmla="*/ 2134752 h 4159686"/>
              <a:gd name="connsiteX10" fmla="*/ 0 w 6262141"/>
              <a:gd name="connsiteY10" fmla="*/ 1709014 h 4159686"/>
              <a:gd name="connsiteX11" fmla="*/ 0 w 6262141"/>
              <a:gd name="connsiteY11" fmla="*/ 1269085 h 4159686"/>
              <a:gd name="connsiteX12" fmla="*/ 0 w 6262141"/>
              <a:gd name="connsiteY12" fmla="*/ 814735 h 4159686"/>
              <a:gd name="connsiteX13" fmla="*/ 0 w 6262141"/>
              <a:gd name="connsiteY13" fmla="*/ 345728 h 4159686"/>
              <a:gd name="connsiteX14" fmla="*/ 2836724 w 6262141"/>
              <a:gd name="connsiteY14" fmla="*/ 775 h 41596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6262141" h="4159686">
                <a:moveTo>
                  <a:pt x="2836724" y="775"/>
                </a:moveTo>
                <a:cubicBezTo>
                  <a:pt x="3163345" y="-2587"/>
                  <a:pt x="3492318" y="5034"/>
                  <a:pt x="3822188" y="22965"/>
                </a:cubicBezTo>
                <a:cubicBezTo>
                  <a:pt x="4104550" y="1058496"/>
                  <a:pt x="5095168" y="2317803"/>
                  <a:pt x="5982756" y="3706589"/>
                </a:cubicBezTo>
                <a:lnTo>
                  <a:pt x="6262141" y="4159686"/>
                </a:lnTo>
                <a:lnTo>
                  <a:pt x="0" y="4159686"/>
                </a:lnTo>
                <a:lnTo>
                  <a:pt x="0" y="3700458"/>
                </a:lnTo>
                <a:lnTo>
                  <a:pt x="0" y="3329154"/>
                </a:lnTo>
                <a:lnTo>
                  <a:pt x="0" y="2944589"/>
                </a:lnTo>
                <a:lnTo>
                  <a:pt x="0" y="2546533"/>
                </a:lnTo>
                <a:lnTo>
                  <a:pt x="0" y="2134752"/>
                </a:lnTo>
                <a:lnTo>
                  <a:pt x="0" y="1709014"/>
                </a:lnTo>
                <a:lnTo>
                  <a:pt x="0" y="1269085"/>
                </a:lnTo>
                <a:lnTo>
                  <a:pt x="0" y="814735"/>
                </a:lnTo>
                <a:lnTo>
                  <a:pt x="0" y="345728"/>
                </a:lnTo>
                <a:cubicBezTo>
                  <a:pt x="898178" y="119794"/>
                  <a:pt x="1856863" y="10862"/>
                  <a:pt x="2836724" y="775"/>
                </a:cubicBezTo>
                <a:close/>
              </a:path>
            </a:pathLst>
          </a:custGeom>
          <a:solidFill>
            <a:srgbClr val="12AB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rtlCol="0"/>
          <a:p>
            <a:pPr algn="ctr"/>
            <a:endParaRPr dirty="0" lang="pt-PT"/>
          </a:p>
        </p:txBody>
      </p:sp>
      <p:sp>
        <p:nvSpPr>
          <p:cNvPr id="1048638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783129" y="5278426"/>
            <a:ext cx="3296647" cy="331986"/>
          </a:xfrm>
          <a:prstGeom prst="rect"/>
          <a:noFill/>
        </p:spPr>
        <p:txBody>
          <a:bodyPr anchor="ctr">
            <a:noAutofit/>
          </a:bodyPr>
          <a:lstStyle>
            <a:lvl1pPr algn="l">
              <a:defRPr b="1" sz="1600">
                <a:solidFill>
                  <a:schemeClr val="accent2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dirty="0" lang="en-US"/>
              <a:t>Insert education </a:t>
            </a:r>
          </a:p>
        </p:txBody>
      </p:sp>
      <p:sp>
        <p:nvSpPr>
          <p:cNvPr id="1048639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783129" y="3916350"/>
            <a:ext cx="3296647" cy="412363"/>
          </a:xfrm>
          <a:prstGeom prst="rect"/>
          <a:noFill/>
        </p:spPr>
        <p:txBody>
          <a:bodyPr anchor="ctr">
            <a:noAutofit/>
          </a:bodyPr>
          <a:lstStyle>
            <a:lvl1pPr algn="l">
              <a:defRPr b="1" sz="2000">
                <a:solidFill>
                  <a:schemeClr val="accent2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dirty="0" lang="en-US"/>
              <a:t>Insert Name</a:t>
            </a:r>
          </a:p>
        </p:txBody>
      </p:sp>
      <p:sp>
        <p:nvSpPr>
          <p:cNvPr id="1048640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782081" y="4344097"/>
            <a:ext cx="3304144" cy="894840"/>
          </a:xfrm>
          <a:prstGeom prst="rect"/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dirty="0" lang="en-US"/>
              <a:t>Insert text</a:t>
            </a:r>
          </a:p>
        </p:txBody>
      </p:sp>
      <p:sp>
        <p:nvSpPr>
          <p:cNvPr id="1048641" name="Text Placeholder 7"/>
          <p:cNvSpPr>
            <a:spLocks noGrp="1"/>
          </p:cNvSpPr>
          <p:nvPr>
            <p:ph type="body" sz="quarter" idx="15" hasCustomPrompt="1"/>
          </p:nvPr>
        </p:nvSpPr>
        <p:spPr>
          <a:xfrm>
            <a:off x="782081" y="5601397"/>
            <a:ext cx="3297695" cy="713864"/>
          </a:xfrm>
          <a:prstGeom prst="rect"/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dirty="0" lang="en-US"/>
              <a:t>Insert text</a:t>
            </a:r>
          </a:p>
        </p:txBody>
      </p:sp>
      <p:sp>
        <p:nvSpPr>
          <p:cNvPr id="1048642" name="Oval 20"/>
          <p:cNvSpPr/>
          <p:nvPr userDrawn="1"/>
        </p:nvSpPr>
        <p:spPr>
          <a:xfrm>
            <a:off x="1381192" y="1147034"/>
            <a:ext cx="2609222" cy="2465696"/>
          </a:xfrm>
          <a:custGeom>
            <a:avLst/>
            <a:gdLst>
              <a:gd name="connsiteX0" fmla="*/ 0 w 3314251"/>
              <a:gd name="connsiteY0" fmla="*/ 1564410 h 3128820"/>
              <a:gd name="connsiteX1" fmla="*/ 1657126 w 3314251"/>
              <a:gd name="connsiteY1" fmla="*/ 0 h 3128820"/>
              <a:gd name="connsiteX2" fmla="*/ 3314252 w 3314251"/>
              <a:gd name="connsiteY2" fmla="*/ 1564410 h 3128820"/>
              <a:gd name="connsiteX3" fmla="*/ 1657126 w 3314251"/>
              <a:gd name="connsiteY3" fmla="*/ 3128820 h 3128820"/>
              <a:gd name="connsiteX4" fmla="*/ 0 w 3314251"/>
              <a:gd name="connsiteY4" fmla="*/ 1564410 h 3128820"/>
              <a:gd name="connsiteX0" fmla="*/ 0 w 3314252"/>
              <a:gd name="connsiteY0" fmla="*/ 1564410 h 3128820"/>
              <a:gd name="connsiteX1" fmla="*/ 1657126 w 3314252"/>
              <a:gd name="connsiteY1" fmla="*/ 0 h 3128820"/>
              <a:gd name="connsiteX2" fmla="*/ 3314252 w 3314252"/>
              <a:gd name="connsiteY2" fmla="*/ 1564410 h 3128820"/>
              <a:gd name="connsiteX3" fmla="*/ 1657126 w 3314252"/>
              <a:gd name="connsiteY3" fmla="*/ 3128820 h 3128820"/>
              <a:gd name="connsiteX4" fmla="*/ 0 w 3314252"/>
              <a:gd name="connsiteY4" fmla="*/ 1564410 h 3128820"/>
              <a:gd name="connsiteX0" fmla="*/ 0 w 3314252"/>
              <a:gd name="connsiteY0" fmla="*/ 1565821 h 3130231"/>
              <a:gd name="connsiteX1" fmla="*/ 1657126 w 3314252"/>
              <a:gd name="connsiteY1" fmla="*/ 1411 h 3130231"/>
              <a:gd name="connsiteX2" fmla="*/ 3314252 w 3314252"/>
              <a:gd name="connsiteY2" fmla="*/ 1565821 h 3130231"/>
              <a:gd name="connsiteX3" fmla="*/ 1657126 w 3314252"/>
              <a:gd name="connsiteY3" fmla="*/ 3130231 h 3130231"/>
              <a:gd name="connsiteX4" fmla="*/ 0 w 3314252"/>
              <a:gd name="connsiteY4" fmla="*/ 1565821 h 3130231"/>
              <a:gd name="connsiteX0" fmla="*/ 0 w 3314252"/>
              <a:gd name="connsiteY0" fmla="*/ 1567937 h 3132347"/>
              <a:gd name="connsiteX1" fmla="*/ 1657126 w 3314252"/>
              <a:gd name="connsiteY1" fmla="*/ 3527 h 3132347"/>
              <a:gd name="connsiteX2" fmla="*/ 3314252 w 3314252"/>
              <a:gd name="connsiteY2" fmla="*/ 1567937 h 3132347"/>
              <a:gd name="connsiteX3" fmla="*/ 1657126 w 3314252"/>
              <a:gd name="connsiteY3" fmla="*/ 3132347 h 3132347"/>
              <a:gd name="connsiteX4" fmla="*/ 0 w 3314252"/>
              <a:gd name="connsiteY4" fmla="*/ 1567937 h 3132347"/>
              <a:gd name="connsiteX0" fmla="*/ 0 w 3314252"/>
              <a:gd name="connsiteY0" fmla="*/ 1564505 h 3128915"/>
              <a:gd name="connsiteX1" fmla="*/ 1657126 w 3314252"/>
              <a:gd name="connsiteY1" fmla="*/ 95 h 3128915"/>
              <a:gd name="connsiteX2" fmla="*/ 3314252 w 3314252"/>
              <a:gd name="connsiteY2" fmla="*/ 1564505 h 3128915"/>
              <a:gd name="connsiteX3" fmla="*/ 1657126 w 3314252"/>
              <a:gd name="connsiteY3" fmla="*/ 3128915 h 3128915"/>
              <a:gd name="connsiteX4" fmla="*/ 0 w 3314252"/>
              <a:gd name="connsiteY4" fmla="*/ 1564505 h 3128915"/>
              <a:gd name="connsiteX0" fmla="*/ 0 w 3314252"/>
              <a:gd name="connsiteY0" fmla="*/ 1565503 h 3129913"/>
              <a:gd name="connsiteX1" fmla="*/ 1657126 w 3314252"/>
              <a:gd name="connsiteY1" fmla="*/ 1093 h 3129913"/>
              <a:gd name="connsiteX2" fmla="*/ 3314252 w 3314252"/>
              <a:gd name="connsiteY2" fmla="*/ 1565503 h 3129913"/>
              <a:gd name="connsiteX3" fmla="*/ 1657126 w 3314252"/>
              <a:gd name="connsiteY3" fmla="*/ 3129913 h 3129913"/>
              <a:gd name="connsiteX4" fmla="*/ 0 w 3314252"/>
              <a:gd name="connsiteY4" fmla="*/ 1565503 h 3129913"/>
              <a:gd name="connsiteX0" fmla="*/ 0 w 3314252"/>
              <a:gd name="connsiteY0" fmla="*/ 1564410 h 3128820"/>
              <a:gd name="connsiteX1" fmla="*/ 1657126 w 3314252"/>
              <a:gd name="connsiteY1" fmla="*/ 0 h 3128820"/>
              <a:gd name="connsiteX2" fmla="*/ 3314252 w 3314252"/>
              <a:gd name="connsiteY2" fmla="*/ 1564410 h 3128820"/>
              <a:gd name="connsiteX3" fmla="*/ 1657126 w 3314252"/>
              <a:gd name="connsiteY3" fmla="*/ 3128820 h 3128820"/>
              <a:gd name="connsiteX4" fmla="*/ 0 w 3314252"/>
              <a:gd name="connsiteY4" fmla="*/ 1564410 h 3128820"/>
              <a:gd name="connsiteX0" fmla="*/ 0 w 3314252"/>
              <a:gd name="connsiteY0" fmla="*/ 1564433 h 3128843"/>
              <a:gd name="connsiteX1" fmla="*/ 1657126 w 3314252"/>
              <a:gd name="connsiteY1" fmla="*/ 23 h 3128843"/>
              <a:gd name="connsiteX2" fmla="*/ 3314252 w 3314252"/>
              <a:gd name="connsiteY2" fmla="*/ 1564433 h 3128843"/>
              <a:gd name="connsiteX3" fmla="*/ 1657126 w 3314252"/>
              <a:gd name="connsiteY3" fmla="*/ 3128843 h 3128843"/>
              <a:gd name="connsiteX4" fmla="*/ 0 w 3314252"/>
              <a:gd name="connsiteY4" fmla="*/ 1564433 h 3128843"/>
              <a:gd name="connsiteX0" fmla="*/ 0 w 3314252"/>
              <a:gd name="connsiteY0" fmla="*/ 1564433 h 3129053"/>
              <a:gd name="connsiteX1" fmla="*/ 1657126 w 3314252"/>
              <a:gd name="connsiteY1" fmla="*/ 23 h 3129053"/>
              <a:gd name="connsiteX2" fmla="*/ 3314252 w 3314252"/>
              <a:gd name="connsiteY2" fmla="*/ 1564433 h 3129053"/>
              <a:gd name="connsiteX3" fmla="*/ 1657126 w 3314252"/>
              <a:gd name="connsiteY3" fmla="*/ 3128843 h 3129053"/>
              <a:gd name="connsiteX4" fmla="*/ 0 w 3314252"/>
              <a:gd name="connsiteY4" fmla="*/ 1564433 h 3129053"/>
              <a:gd name="connsiteX0" fmla="*/ 0 w 3314252"/>
              <a:gd name="connsiteY0" fmla="*/ 1564433 h 3131880"/>
              <a:gd name="connsiteX1" fmla="*/ 1657126 w 3314252"/>
              <a:gd name="connsiteY1" fmla="*/ 23 h 3131880"/>
              <a:gd name="connsiteX2" fmla="*/ 3314252 w 3314252"/>
              <a:gd name="connsiteY2" fmla="*/ 1564433 h 3131880"/>
              <a:gd name="connsiteX3" fmla="*/ 1657126 w 3314252"/>
              <a:gd name="connsiteY3" fmla="*/ 3128843 h 3131880"/>
              <a:gd name="connsiteX4" fmla="*/ 0 w 3314252"/>
              <a:gd name="connsiteY4" fmla="*/ 1564433 h 3131880"/>
              <a:gd name="connsiteX0" fmla="*/ 0 w 3314252"/>
              <a:gd name="connsiteY0" fmla="*/ 1564433 h 3131423"/>
              <a:gd name="connsiteX1" fmla="*/ 1657126 w 3314252"/>
              <a:gd name="connsiteY1" fmla="*/ 23 h 3131423"/>
              <a:gd name="connsiteX2" fmla="*/ 3314252 w 3314252"/>
              <a:gd name="connsiteY2" fmla="*/ 1564433 h 3131423"/>
              <a:gd name="connsiteX3" fmla="*/ 1657126 w 3314252"/>
              <a:gd name="connsiteY3" fmla="*/ 3128843 h 3131423"/>
              <a:gd name="connsiteX4" fmla="*/ 0 w 3314252"/>
              <a:gd name="connsiteY4" fmla="*/ 1564433 h 31314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314252" h="3131423">
                <a:moveTo>
                  <a:pt x="0" y="1564433"/>
                </a:moveTo>
                <a:cubicBezTo>
                  <a:pt x="0" y="700433"/>
                  <a:pt x="775256" y="19074"/>
                  <a:pt x="1657126" y="23"/>
                </a:cubicBezTo>
                <a:cubicBezTo>
                  <a:pt x="2639009" y="-4740"/>
                  <a:pt x="3314252" y="700433"/>
                  <a:pt x="3314252" y="1564433"/>
                </a:cubicBezTo>
                <a:cubicBezTo>
                  <a:pt x="3314252" y="2428433"/>
                  <a:pt x="2367543" y="3071694"/>
                  <a:pt x="1657126" y="3128843"/>
                </a:cubicBezTo>
                <a:cubicBezTo>
                  <a:pt x="665721" y="3181230"/>
                  <a:pt x="0" y="2428433"/>
                  <a:pt x="0" y="1564433"/>
                </a:cubicBezTo>
                <a:close/>
              </a:path>
            </a:pathLst>
          </a:custGeom>
          <a:solidFill>
            <a:srgbClr val="95E61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rtlCol="0"/>
          <a:p>
            <a:pPr algn="ctr"/>
            <a:endParaRPr lang="pt-PT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OnePager Template 2017 NL">
    <p:spTree>
      <p:nvGrpSpPr>
        <p:cNvPr id="14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97154" name="Picture 3"/>
          <p:cNvPicPr>
            <a:picLocks noChangeAspect="1"/>
          </p:cNvPicPr>
          <p:nvPr userDrawn="1"/>
        </p:nvPicPr>
        <p:blipFill>
          <a:blip xmlns:r="http://schemas.openxmlformats.org/officeDocument/2006/relationships" r:embed="rId1"/>
          <a:srcRect/>
          <a:stretch>
            <a:fillRect/>
          </a:stretch>
        </p:blipFill>
        <p:spPr bwMode="auto">
          <a:xfrm>
            <a:off x="-12700" y="0"/>
            <a:ext cx="12192000" cy="6858000"/>
          </a:xfrm>
          <a:prstGeom prst="rect"/>
          <a:noFill/>
          <a:ln>
            <a:noFill/>
          </a:ln>
        </p:spPr>
      </p:pic>
      <p:sp>
        <p:nvSpPr>
          <p:cNvPr id="1048583" name="TextBox 11"/>
          <p:cNvSpPr txBox="1">
            <a:spLocks noChangeArrowheads="1"/>
          </p:cNvSpPr>
          <p:nvPr userDrawn="1"/>
        </p:nvSpPr>
        <p:spPr bwMode="auto">
          <a:xfrm>
            <a:off x="476250" y="2697163"/>
            <a:ext cx="1392238" cy="276225"/>
          </a:xfrm>
          <a:prstGeom prst="rect"/>
          <a:noFill/>
          <a:ln>
            <a:noFill/>
          </a:ln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indent="-285750" marL="74295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indent="-228600" marL="11430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indent="-228600" marL="16002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indent="-228600" marL="20574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fontAlgn="base" indent="-228600" marL="251460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fontAlgn="base" indent="-228600" marL="297180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fontAlgn="base" indent="-228600" marL="342900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fontAlgn="base" indent="-228600" marL="388620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eaLnBrk="1" hangingPunct="1"/>
            <a:r>
              <a:rPr altLang="nl-NL" b="1" dirty="0" sz="1200" lang="nl-NL">
                <a:solidFill>
                  <a:srgbClr val="0070AD"/>
                </a:solidFill>
              </a:rPr>
              <a:t>Strengths</a:t>
            </a:r>
          </a:p>
        </p:txBody>
      </p:sp>
      <p:sp>
        <p:nvSpPr>
          <p:cNvPr id="1048584" name="TextBox 12"/>
          <p:cNvSpPr txBox="1">
            <a:spLocks noChangeArrowheads="1"/>
          </p:cNvSpPr>
          <p:nvPr userDrawn="1"/>
        </p:nvSpPr>
        <p:spPr bwMode="auto">
          <a:xfrm>
            <a:off x="5121275" y="2695575"/>
            <a:ext cx="1876425" cy="277813"/>
          </a:xfrm>
          <a:prstGeom prst="rect"/>
          <a:noFill/>
          <a:ln>
            <a:noFill/>
          </a:ln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indent="-285750" marL="74295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indent="-228600" marL="11430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indent="-228600" marL="16002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indent="-228600" marL="20574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fontAlgn="base" indent="-228600" marL="251460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fontAlgn="base" indent="-228600" marL="297180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fontAlgn="base" indent="-228600" marL="342900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fontAlgn="base" indent="-228600" marL="388620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eaLnBrk="1" hangingPunct="1"/>
            <a:r>
              <a:rPr altLang="nl-NL" b="1" dirty="0" sz="1200" lang="nl-NL">
                <a:solidFill>
                  <a:srgbClr val="0070AD"/>
                </a:solidFill>
              </a:rPr>
              <a:t>Achivement </a:t>
            </a:r>
          </a:p>
        </p:txBody>
      </p:sp>
      <p:sp>
        <p:nvSpPr>
          <p:cNvPr id="1048585" name="TextBox 13"/>
          <p:cNvSpPr txBox="1">
            <a:spLocks noChangeArrowheads="1"/>
          </p:cNvSpPr>
          <p:nvPr userDrawn="1"/>
        </p:nvSpPr>
        <p:spPr bwMode="auto">
          <a:xfrm>
            <a:off x="9366250" y="320675"/>
            <a:ext cx="2779713" cy="276225"/>
          </a:xfrm>
          <a:prstGeom prst="rect"/>
          <a:noFill/>
          <a:ln>
            <a:noFill/>
          </a:ln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indent="-285750" marL="74295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indent="-228600" marL="11430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indent="-228600" marL="16002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indent="-228600" marL="20574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fontAlgn="base" indent="-228600" marL="251460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fontAlgn="base" indent="-228600" marL="297180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fontAlgn="base" indent="-228600" marL="342900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fontAlgn="base" indent="-228600" marL="388620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eaLnBrk="1" hangingPunct="1"/>
            <a:r>
              <a:rPr altLang="nl-NL" b="1" sz="1200" lang="nl-NL">
                <a:solidFill>
                  <a:srgbClr val="0070AD"/>
                </a:solidFill>
              </a:rPr>
              <a:t>Education and certificates</a:t>
            </a:r>
          </a:p>
        </p:txBody>
      </p:sp>
      <p:grpSp>
        <p:nvGrpSpPr>
          <p:cNvPr id="15" name="Group 2"/>
          <p:cNvGrpSpPr/>
          <p:nvPr userDrawn="1"/>
        </p:nvGrpSpPr>
        <p:grpSpPr bwMode="auto">
          <a:xfrm>
            <a:off x="2349500" y="1057275"/>
            <a:ext cx="1566863" cy="1108075"/>
            <a:chOff x="2384425" y="1239838"/>
            <a:chExt cx="1143000" cy="898525"/>
          </a:xfrm>
        </p:grpSpPr>
        <p:sp>
          <p:nvSpPr>
            <p:cNvPr id="1048586" name="TextBox 11"/>
            <p:cNvSpPr txBox="1">
              <a:spLocks noChangeArrowheads="1"/>
            </p:cNvSpPr>
            <p:nvPr/>
          </p:nvSpPr>
          <p:spPr bwMode="white">
            <a:xfrm>
              <a:off x="2385583" y="1429069"/>
              <a:ext cx="1141842" cy="208026"/>
            </a:xfrm>
            <a:prstGeom prst="rect"/>
            <a:noFill/>
            <a:ln>
              <a:noFill/>
            </a:ln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1pPr>
              <a:lvl2pPr indent="-285750" marL="74295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2pPr>
              <a:lvl3pPr indent="-228600" marL="11430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3pPr>
              <a:lvl4pPr indent="-228600" marL="16002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4pPr>
              <a:lvl5pPr indent="-228600" marL="20574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5pPr>
              <a:lvl6pPr eaLnBrk="0" fontAlgn="base" hangingPunct="0" indent="-228600" marL="251460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6pPr>
              <a:lvl7pPr eaLnBrk="0" fontAlgn="base" hangingPunct="0" indent="-228600" marL="297180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7pPr>
              <a:lvl8pPr eaLnBrk="0" fontAlgn="base" hangingPunct="0" indent="-228600" marL="342900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8pPr>
              <a:lvl9pPr eaLnBrk="0" fontAlgn="base" hangingPunct="0" indent="-228600" marL="388620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9pPr>
            </a:lstStyle>
            <a:p>
              <a:pPr eaLnBrk="1" hangingPunct="1"/>
              <a:r>
                <a:rPr altLang="nl-NL" b="1" dirty="0" sz="1100" lang="nl-NL">
                  <a:solidFill>
                    <a:schemeClr val="bg1"/>
                  </a:solidFill>
                </a:rPr>
                <a:t>Base Location:</a:t>
              </a:r>
            </a:p>
          </p:txBody>
        </p:sp>
        <p:sp>
          <p:nvSpPr>
            <p:cNvPr id="1048587" name="TextBox 12"/>
            <p:cNvSpPr txBox="1">
              <a:spLocks noChangeArrowheads="1"/>
            </p:cNvSpPr>
            <p:nvPr/>
          </p:nvSpPr>
          <p:spPr bwMode="white">
            <a:xfrm>
              <a:off x="2385583" y="1628598"/>
              <a:ext cx="1141842" cy="212402"/>
            </a:xfrm>
            <a:prstGeom prst="rect"/>
            <a:noFill/>
            <a:ln>
              <a:noFill/>
            </a:ln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1pPr>
              <a:lvl2pPr indent="-285750" marL="74295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2pPr>
              <a:lvl3pPr indent="-228600" marL="11430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3pPr>
              <a:lvl4pPr indent="-228600" marL="16002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4pPr>
              <a:lvl5pPr indent="-228600" marL="20574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5pPr>
              <a:lvl6pPr eaLnBrk="0" fontAlgn="base" hangingPunct="0" indent="-228600" marL="251460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6pPr>
              <a:lvl7pPr eaLnBrk="0" fontAlgn="base" hangingPunct="0" indent="-228600" marL="297180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7pPr>
              <a:lvl8pPr eaLnBrk="0" fontAlgn="base" hangingPunct="0" indent="-228600" marL="342900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8pPr>
              <a:lvl9pPr eaLnBrk="0" fontAlgn="base" hangingPunct="0" indent="-228600" marL="388620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9pPr>
            </a:lstStyle>
            <a:p>
              <a:pPr eaLnBrk="1" hangingPunct="1"/>
              <a:r>
                <a:rPr altLang="nl-NL" b="1" dirty="0" sz="1100" lang="nl-NL">
                  <a:solidFill>
                    <a:schemeClr val="bg1"/>
                  </a:solidFill>
                </a:rPr>
                <a:t>Email ID:</a:t>
              </a:r>
            </a:p>
          </p:txBody>
        </p:sp>
        <p:sp>
          <p:nvSpPr>
            <p:cNvPr id="1048588" name="TextBox 13"/>
            <p:cNvSpPr txBox="1">
              <a:spLocks noChangeArrowheads="1"/>
            </p:cNvSpPr>
            <p:nvPr/>
          </p:nvSpPr>
          <p:spPr bwMode="white">
            <a:xfrm>
              <a:off x="2385583" y="1820404"/>
              <a:ext cx="1141842" cy="212402"/>
            </a:xfrm>
            <a:prstGeom prst="rect"/>
            <a:noFill/>
            <a:ln>
              <a:noFill/>
            </a:ln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1pPr>
              <a:lvl2pPr indent="-285750" marL="74295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2pPr>
              <a:lvl3pPr indent="-228600" marL="11430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3pPr>
              <a:lvl4pPr indent="-228600" marL="16002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4pPr>
              <a:lvl5pPr indent="-228600" marL="20574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5pPr>
              <a:lvl6pPr eaLnBrk="0" fontAlgn="base" hangingPunct="0" indent="-228600" marL="251460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6pPr>
              <a:lvl7pPr eaLnBrk="0" fontAlgn="base" hangingPunct="0" indent="-228600" marL="297180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7pPr>
              <a:lvl8pPr eaLnBrk="0" fontAlgn="base" hangingPunct="0" indent="-228600" marL="342900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8pPr>
              <a:lvl9pPr eaLnBrk="0" fontAlgn="base" hangingPunct="0" indent="-228600" marL="388620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9pPr>
            </a:lstStyle>
            <a:p>
              <a:pPr eaLnBrk="1" hangingPunct="1"/>
              <a:r>
                <a:rPr altLang="nl-NL" b="1" dirty="0" sz="1100" lang="nl-NL">
                  <a:solidFill>
                    <a:schemeClr val="bg1"/>
                  </a:solidFill>
                </a:rPr>
                <a:t>Mobile No:</a:t>
              </a:r>
            </a:p>
          </p:txBody>
        </p:sp>
        <p:sp>
          <p:nvSpPr>
            <p:cNvPr id="1048589" name="Rectangle 19"/>
            <p:cNvSpPr/>
            <p:nvPr/>
          </p:nvSpPr>
          <p:spPr bwMode="white">
            <a:xfrm>
              <a:off x="2384425" y="1239838"/>
              <a:ext cx="1104784" cy="898525"/>
            </a:xfrm>
            <a:prstGeom prst="rect"/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p>
              <a:pPr algn="ctr"/>
              <a:endParaRPr lang="nl-NL"/>
            </a:p>
          </p:txBody>
        </p:sp>
      </p:grpSp>
      <p:sp>
        <p:nvSpPr>
          <p:cNvPr id="1048590" name="TextBox 13"/>
          <p:cNvSpPr txBox="1">
            <a:spLocks noChangeArrowheads="1"/>
          </p:cNvSpPr>
          <p:nvPr userDrawn="1"/>
        </p:nvSpPr>
        <p:spPr bwMode="white">
          <a:xfrm>
            <a:off x="2357438" y="1990725"/>
            <a:ext cx="1563687" cy="260350"/>
          </a:xfrm>
          <a:prstGeom prst="rect"/>
          <a:noFill/>
          <a:ln>
            <a:noFill/>
          </a:ln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indent="-285750" marL="74295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indent="-228600" marL="11430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indent="-228600" marL="16002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indent="-228600" marL="20574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eaLnBrk="0" fontAlgn="base" hangingPunct="0" indent="-228600" marL="251460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eaLnBrk="0" fontAlgn="base" hangingPunct="0" indent="-228600" marL="297180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eaLnBrk="0" fontAlgn="base" hangingPunct="0" indent="-228600" marL="342900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eaLnBrk="0" fontAlgn="base" hangingPunct="0" indent="-228600" marL="388620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eaLnBrk="1" hangingPunct="1"/>
            <a:r>
              <a:rPr altLang="nl-NL" b="1" dirty="0" sz="1100" lang="nl-NL">
                <a:solidFill>
                  <a:schemeClr val="bg1"/>
                </a:solidFill>
              </a:rPr>
              <a:t>Grade:</a:t>
            </a:r>
          </a:p>
        </p:txBody>
      </p:sp>
      <p:pic>
        <p:nvPicPr>
          <p:cNvPr id="2097155" name="Picture 8" descr="Strengths"/>
          <p:cNvPicPr>
            <a:picLocks noChangeAspect="1" noChangeArrowheads="1"/>
          </p:cNvPicPr>
          <p:nvPr userDrawn="1"/>
        </p:nvPicPr>
        <p:blipFill>
          <a:blip xmlns:r="http://schemas.openxmlformats.org/officeDocument/2006/relationships" r:embed="rId2" cstate="print"/>
          <a:srcRect/>
          <a:stretch>
            <a:fillRect/>
          </a:stretch>
        </p:blipFill>
        <p:spPr bwMode="auto">
          <a:xfrm>
            <a:off x="77788" y="2382838"/>
            <a:ext cx="611187" cy="612775"/>
          </a:xfrm>
          <a:prstGeom prst="rect"/>
          <a:noFill/>
          <a:ln>
            <a:noFill/>
          </a:ln>
        </p:spPr>
      </p:pic>
      <p:pic>
        <p:nvPicPr>
          <p:cNvPr id="2097156" name="Picture 12" descr="Achievement, trophy icon"/>
          <p:cNvPicPr>
            <a:picLocks noChangeAspect="1" noChangeArrowheads="1"/>
          </p:cNvPicPr>
          <p:nvPr userDrawn="1"/>
        </p:nvPicPr>
        <p:blipFill>
          <a:blip xmlns:r="http://schemas.openxmlformats.org/officeDocument/2006/relationships" r:embed="rId3" cstate="print"/>
          <a:srcRect/>
          <a:stretch>
            <a:fillRect/>
          </a:stretch>
        </p:blipFill>
        <p:spPr bwMode="auto">
          <a:xfrm>
            <a:off x="4740275" y="2509838"/>
            <a:ext cx="446088" cy="446087"/>
          </a:xfrm>
          <a:prstGeom prst="rect"/>
          <a:noFill/>
          <a:ln>
            <a:noFill/>
          </a:ln>
        </p:spPr>
      </p:pic>
      <p:sp>
        <p:nvSpPr>
          <p:cNvPr id="1048591" name="Text Placeholder 5"/>
          <p:cNvSpPr>
            <a:spLocks noGrp="1"/>
          </p:cNvSpPr>
          <p:nvPr>
            <p:ph type="body" sz="quarter" idx="36"/>
          </p:nvPr>
        </p:nvSpPr>
        <p:spPr>
          <a:xfrm>
            <a:off x="4836699" y="2995865"/>
            <a:ext cx="4009644" cy="3621503"/>
          </a:xfrm>
        </p:spPr>
        <p:txBody>
          <a:bodyPr>
            <a:noAutofit/>
          </a:bodyPr>
          <a:lstStyle>
            <a:lvl1pPr>
              <a:lnSpc>
                <a:spcPct val="150000"/>
              </a:lnSpc>
              <a:defRPr baseline="0" sz="1000" i="0" u="none"/>
            </a:lvl1pPr>
            <a:lvl2pPr>
              <a:lnSpc>
                <a:spcPct val="114000"/>
              </a:lnSpc>
            </a:lvl2pPr>
          </a:lstStyle>
          <a:p>
            <a:pPr lvl="0"/>
            <a:r>
              <a:rPr dirty="0" lang="en-US"/>
              <a:t>Click to edit Master text styles</a:t>
            </a:r>
          </a:p>
          <a:p>
            <a:pPr lvl="1"/>
            <a:r>
              <a:rPr dirty="0" lang="en-US"/>
              <a:t>Second level</a:t>
            </a:r>
          </a:p>
        </p:txBody>
      </p:sp>
      <p:sp>
        <p:nvSpPr>
          <p:cNvPr id="1048592" name="Text Placeholder 5"/>
          <p:cNvSpPr>
            <a:spLocks noGrp="1"/>
          </p:cNvSpPr>
          <p:nvPr>
            <p:ph type="body" sz="quarter" idx="41"/>
          </p:nvPr>
        </p:nvSpPr>
        <p:spPr bwMode="white">
          <a:xfrm>
            <a:off x="2468282" y="290679"/>
            <a:ext cx="6223654" cy="306703"/>
          </a:xfrm>
        </p:spPr>
        <p:txBody>
          <a:bodyPr>
            <a:noAutofit/>
          </a:bodyPr>
          <a:lstStyle>
            <a:lvl1pPr>
              <a:defRPr baseline="0" b="1" sz="2100">
                <a:solidFill>
                  <a:schemeClr val="bg1"/>
                </a:solidFill>
              </a:defRPr>
            </a:lvl1pPr>
          </a:lstStyle>
          <a:p>
            <a:pPr lvl="0"/>
            <a:r>
              <a:rPr dirty="0" lang="en-US"/>
              <a:t>Click to edit Master text styles</a:t>
            </a:r>
          </a:p>
        </p:txBody>
      </p:sp>
      <p:sp>
        <p:nvSpPr>
          <p:cNvPr id="1048593" name="Text Placeholder 5"/>
          <p:cNvSpPr>
            <a:spLocks noGrp="1"/>
          </p:cNvSpPr>
          <p:nvPr>
            <p:ph type="body" sz="quarter" idx="42"/>
          </p:nvPr>
        </p:nvSpPr>
        <p:spPr bwMode="white">
          <a:xfrm>
            <a:off x="2468279" y="665942"/>
            <a:ext cx="6056596" cy="321205"/>
          </a:xfrm>
        </p:spPr>
        <p:txBody>
          <a:bodyPr>
            <a:noAutofit/>
          </a:bodyPr>
          <a:lstStyle>
            <a:lvl1pPr algn="l" defTabSz="914400" eaLnBrk="1" fontAlgn="auto" hangingPunct="1" indent="0" latinLnBrk="0" marL="0" marR="0" rtl="0">
              <a:lnSpc>
                <a:spcPts val="22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dirty="0" lang="en-US"/>
              <a:t>Click to edit Master text styles</a:t>
            </a:r>
          </a:p>
        </p:txBody>
      </p:sp>
      <p:sp>
        <p:nvSpPr>
          <p:cNvPr id="1048594" name="Text Placeholder 5"/>
          <p:cNvSpPr>
            <a:spLocks noGrp="1"/>
          </p:cNvSpPr>
          <p:nvPr>
            <p:ph type="body" sz="quarter" idx="43"/>
          </p:nvPr>
        </p:nvSpPr>
        <p:spPr bwMode="white">
          <a:xfrm>
            <a:off x="3696643" y="1280458"/>
            <a:ext cx="2373312" cy="295449"/>
          </a:xfrm>
        </p:spPr>
        <p:txBody>
          <a:bodyPr>
            <a:noAutofit/>
          </a:bodyPr>
          <a:lstStyle>
            <a:lvl1pPr>
              <a:defRPr sz="1100">
                <a:solidFill>
                  <a:schemeClr val="bg1"/>
                </a:solidFill>
              </a:defRPr>
            </a:lvl1pPr>
          </a:lstStyle>
          <a:p>
            <a:pPr lvl="0"/>
            <a:r>
              <a:rPr dirty="0" lang="en-US"/>
              <a:t>Click to edit Master text styles</a:t>
            </a:r>
          </a:p>
        </p:txBody>
      </p:sp>
      <p:sp>
        <p:nvSpPr>
          <p:cNvPr id="1048595" name="Picture Placeholder 44"/>
          <p:cNvSpPr>
            <a:spLocks noGrp="1"/>
          </p:cNvSpPr>
          <p:nvPr>
            <p:ph type="pic" sz="quarter" idx="46"/>
          </p:nvPr>
        </p:nvSpPr>
        <p:spPr bwMode="ltGray">
          <a:xfrm>
            <a:off x="383259" y="287492"/>
            <a:ext cx="1734208" cy="1735628"/>
          </a:xfrm>
          <a:prstGeom prst="ellipse"/>
          <a:solidFill>
            <a:schemeClr val="bg1"/>
          </a:solidFill>
        </p:spPr>
        <p:txBody>
          <a:bodyPr rtlCol="0">
            <a:normAutofit/>
          </a:bodyPr>
          <a:lstStyle>
            <a:lvl1pPr>
              <a:lnSpc>
                <a:spcPct val="114000"/>
              </a:lnSpc>
              <a:defRPr baseline="0" sz="1000"/>
            </a:lvl1pPr>
          </a:lstStyle>
          <a:p>
            <a:pPr lvl="0"/>
            <a:r>
              <a:rPr dirty="0" lang="en-US" noProof="0"/>
              <a:t>Click icon to add picture</a:t>
            </a:r>
            <a:endParaRPr dirty="0" lang="nl-NL" noProof="0"/>
          </a:p>
        </p:txBody>
      </p:sp>
      <p:sp>
        <p:nvSpPr>
          <p:cNvPr id="1048596" name="Text Placeholder 5"/>
          <p:cNvSpPr>
            <a:spLocks noGrp="1"/>
          </p:cNvSpPr>
          <p:nvPr>
            <p:ph type="body" sz="quarter" idx="47"/>
          </p:nvPr>
        </p:nvSpPr>
        <p:spPr bwMode="white">
          <a:xfrm>
            <a:off x="3696026" y="1501534"/>
            <a:ext cx="2373312" cy="325397"/>
          </a:xfrm>
        </p:spPr>
        <p:txBody>
          <a:bodyPr>
            <a:noAutofit/>
          </a:bodyPr>
          <a:lstStyle>
            <a:lvl1pPr>
              <a:defRPr sz="1100">
                <a:solidFill>
                  <a:schemeClr val="bg1"/>
                </a:solidFill>
              </a:defRPr>
            </a:lvl1pPr>
          </a:lstStyle>
          <a:p>
            <a:pPr lvl="0"/>
            <a:r>
              <a:rPr dirty="0" lang="en-US"/>
              <a:t>Click to edit Master text styles</a:t>
            </a:r>
          </a:p>
        </p:txBody>
      </p:sp>
      <p:sp>
        <p:nvSpPr>
          <p:cNvPr id="1048597" name="Text Placeholder 5"/>
          <p:cNvSpPr>
            <a:spLocks noGrp="1"/>
          </p:cNvSpPr>
          <p:nvPr>
            <p:ph type="body" sz="quarter" idx="48"/>
          </p:nvPr>
        </p:nvSpPr>
        <p:spPr bwMode="white">
          <a:xfrm>
            <a:off x="3685536" y="1711595"/>
            <a:ext cx="2373312" cy="330250"/>
          </a:xfrm>
        </p:spPr>
        <p:txBody>
          <a:bodyPr>
            <a:noAutofit/>
          </a:bodyPr>
          <a:lstStyle>
            <a:lvl1pPr>
              <a:defRPr sz="1100">
                <a:solidFill>
                  <a:schemeClr val="bg1"/>
                </a:solidFill>
              </a:defRPr>
            </a:lvl1pPr>
          </a:lstStyle>
          <a:p>
            <a:pPr lvl="0"/>
            <a:r>
              <a:rPr dirty="0" lang="en-US"/>
              <a:t>Click to edit Master text styles</a:t>
            </a:r>
          </a:p>
        </p:txBody>
      </p:sp>
      <p:sp>
        <p:nvSpPr>
          <p:cNvPr id="1048598" name="Text Placeholder 5"/>
          <p:cNvSpPr>
            <a:spLocks noGrp="1"/>
          </p:cNvSpPr>
          <p:nvPr>
            <p:ph type="body" sz="quarter" idx="50"/>
          </p:nvPr>
        </p:nvSpPr>
        <p:spPr>
          <a:xfrm>
            <a:off x="383259" y="2995866"/>
            <a:ext cx="4056394" cy="3621502"/>
          </a:xfrm>
        </p:spPr>
        <p:txBody>
          <a:bodyPr>
            <a:noAutofit/>
          </a:bodyPr>
          <a:lstStyle>
            <a:lvl1pPr>
              <a:lnSpc>
                <a:spcPct val="114000"/>
              </a:lnSpc>
              <a:defRPr baseline="0" sz="1000" u="none"/>
            </a:lvl1pPr>
          </a:lstStyle>
          <a:p>
            <a:pPr lvl="0"/>
            <a:r>
              <a:rPr dirty="0" lang="en-US"/>
              <a:t>Click to edit Master text styles</a:t>
            </a:r>
          </a:p>
        </p:txBody>
      </p:sp>
      <p:sp>
        <p:nvSpPr>
          <p:cNvPr id="1048599" name="Text Placeholder 5"/>
          <p:cNvSpPr>
            <a:spLocks noGrp="1"/>
          </p:cNvSpPr>
          <p:nvPr>
            <p:ph type="body" sz="quarter" idx="51"/>
          </p:nvPr>
        </p:nvSpPr>
        <p:spPr bwMode="white">
          <a:xfrm>
            <a:off x="3690158" y="1891703"/>
            <a:ext cx="2373312" cy="330250"/>
          </a:xfrm>
        </p:spPr>
        <p:txBody>
          <a:bodyPr>
            <a:noAutofit/>
          </a:bodyPr>
          <a:lstStyle>
            <a:lvl1pPr>
              <a:defRPr sz="1100">
                <a:solidFill>
                  <a:schemeClr val="bg1"/>
                </a:solidFill>
              </a:defRPr>
            </a:lvl1pPr>
          </a:lstStyle>
          <a:p>
            <a:pPr lvl="0"/>
            <a:r>
              <a:rPr dirty="0" lang="en-US"/>
              <a:t>Click to edit Master text styles</a:t>
            </a:r>
          </a:p>
        </p:txBody>
      </p:sp>
    </p:spTree>
  </p:cSld>
  <p:clrMapOvr>
    <a:masterClrMapping/>
  </p:clrMapOvr>
</p:sldLayout>
</file>

<file path=ppt/slideMasters/_rels/slideMaster1.xml.rels><?xml version="1.0" encoding="UTF-8" standalone="yes"?>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Relationship Id="rId9" Type="http://schemas.openxmlformats.org/officeDocument/2006/relationships/tags" Target="../tags/tag3.xml"/><Relationship Id="rId10" Type="http://schemas.openxmlformats.org/officeDocument/2006/relationships/oleObject" Target="../embeddings/oleObject2.bin"/><Relationship Id="rId11" Type="http://schemas.openxmlformats.org/officeDocument/2006/relationships/image" Target="../media/image2.emf"/><Relationship Id="rId12" Type="http://schemas.openxmlformats.org/officeDocument/2006/relationships/vmlDrawing" Target="../drawings/vmlDrawing33.vml"/><Relationship Id="rId13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9F9F9"/>
        </a:solidFill>
      </p:bgPr>
    </p:bg>
    <p:spTree>
      <p:nvGrpSpPr>
        <p:cNvPr id="4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94304" name="Object 20" hidden="1"/>
          <p:cNvGraphicFramePr>
            <a:graphicFrameLocks noChangeAspect="1"/>
          </p:cNvGraphicFramePr>
          <p:nvPr>
            <p:custDataLst>
              <p:tags r:id="rId9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spid="_x0000_s1025" imgH="270" imgW="270" progId="TCLayout.ActiveDocument.1">
                  <p:embed/>
                </p:oleObj>
              </mc:Choice>
              <mc:Fallback>
                <p:oleObj name="think-cell Slide" r:id="rId10" spid="" imgH="270" imgW="270" progId="TCLayout.ActiveDocument.1">
                  <p:embed/>
                  <p:pic>
                    <p:nvPicPr>
                      <p:cNvPr id="2097152" name="Object 20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xmlns:r="http://schemas.openxmlformats.org/officeDocument/2006/relationships" r:embed="rId11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/>
                      <a:noFill/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" name="Groupe 1"/>
          <p:cNvGrpSpPr/>
          <p:nvPr userDrawn="1"/>
        </p:nvGrpSpPr>
        <p:grpSpPr>
          <a:xfrm>
            <a:off x="11501102" y="171573"/>
            <a:ext cx="419436" cy="388988"/>
            <a:chOff x="11501102" y="171573"/>
            <a:chExt cx="419436" cy="388988"/>
          </a:xfrm>
        </p:grpSpPr>
        <p:sp>
          <p:nvSpPr>
            <p:cNvPr id="1048576" name="Freeform 13"/>
            <p:cNvSpPr/>
            <p:nvPr userDrawn="1"/>
          </p:nvSpPr>
          <p:spPr bwMode="auto">
            <a:xfrm>
              <a:off x="11644642" y="334376"/>
              <a:ext cx="275896" cy="226185"/>
            </a:xfrm>
            <a:custGeom>
              <a:avLst/>
              <a:ahLst/>
              <a:cxnLst>
                <a:cxn ang="0">
                  <a:pos x="125" y="107"/>
                </a:cxn>
                <a:cxn ang="0">
                  <a:pos x="188" y="43"/>
                </a:cxn>
                <a:cxn ang="0">
                  <a:pos x="141" y="0"/>
                </a:cxn>
                <a:cxn ang="0">
                  <a:pos x="49" y="99"/>
                </a:cxn>
                <a:cxn ang="0">
                  <a:pos x="0" y="144"/>
                </a:cxn>
                <a:cxn ang="0">
                  <a:pos x="37" y="154"/>
                </a:cxn>
                <a:cxn ang="0">
                  <a:pos x="125" y="125"/>
                </a:cxn>
                <a:cxn ang="0">
                  <a:pos x="81" y="86"/>
                </a:cxn>
                <a:cxn ang="0">
                  <a:pos x="125" y="107"/>
                </a:cxn>
              </a:cxnLst>
              <a:rect l="0" t="0" r="r" b="b"/>
              <a:pathLst>
                <a:path w="188" h="154">
                  <a:moveTo>
                    <a:pt x="125" y="107"/>
                  </a:moveTo>
                  <a:cubicBezTo>
                    <a:pt x="160" y="107"/>
                    <a:pt x="188" y="78"/>
                    <a:pt x="188" y="43"/>
                  </a:cubicBezTo>
                  <a:cubicBezTo>
                    <a:pt x="186" y="28"/>
                    <a:pt x="181" y="0"/>
                    <a:pt x="141" y="0"/>
                  </a:cubicBezTo>
                  <a:cubicBezTo>
                    <a:pt x="99" y="0"/>
                    <a:pt x="84" y="60"/>
                    <a:pt x="49" y="99"/>
                  </a:cubicBezTo>
                  <a:cubicBezTo>
                    <a:pt x="47" y="121"/>
                    <a:pt x="26" y="140"/>
                    <a:pt x="0" y="144"/>
                  </a:cubicBezTo>
                  <a:cubicBezTo>
                    <a:pt x="6" y="150"/>
                    <a:pt x="20" y="154"/>
                    <a:pt x="37" y="154"/>
                  </a:cubicBezTo>
                  <a:cubicBezTo>
                    <a:pt x="68" y="154"/>
                    <a:pt x="106" y="145"/>
                    <a:pt x="125" y="125"/>
                  </a:cubicBezTo>
                  <a:cubicBezTo>
                    <a:pt x="99" y="126"/>
                    <a:pt x="82" y="109"/>
                    <a:pt x="81" y="86"/>
                  </a:cubicBezTo>
                  <a:cubicBezTo>
                    <a:pt x="93" y="101"/>
                    <a:pt x="108" y="107"/>
                    <a:pt x="125" y="107"/>
                  </a:cubicBezTo>
                </a:path>
              </a:pathLst>
            </a:custGeom>
            <a:solidFill>
              <a:srgbClr val="12ABDB"/>
            </a:solidFill>
            <a:ln w="9525">
              <a:noFill/>
              <a:round/>
              <a:headEnd/>
              <a:tailEnd/>
            </a:ln>
          </p:spPr>
          <p:txBody>
            <a:bodyPr anchor="t" anchorCtr="0" bIns="45720" compatLnSpc="1" lIns="91440" numCol="1" rIns="91440" tIns="45720" vert="horz" wrap="square">
              <a:prstTxWarp prst="textNoShape"/>
            </a:bodyPr>
            <a:p>
              <a:endParaRPr dirty="0" lang="en-GB"/>
            </a:p>
          </p:txBody>
        </p:sp>
        <p:sp>
          <p:nvSpPr>
            <p:cNvPr id="1048577" name="Freeform 14"/>
            <p:cNvSpPr/>
            <p:nvPr userDrawn="1"/>
          </p:nvSpPr>
          <p:spPr bwMode="auto">
            <a:xfrm>
              <a:off x="11501102" y="171573"/>
              <a:ext cx="419436" cy="356676"/>
            </a:xfrm>
            <a:custGeom>
              <a:avLst/>
              <a:ahLst/>
              <a:cxnLst>
                <a:cxn ang="0">
                  <a:pos x="286" y="152"/>
                </a:cxn>
                <a:cxn ang="0">
                  <a:pos x="237" y="51"/>
                </a:cxn>
                <a:cxn ang="0">
                  <a:pos x="160" y="3"/>
                </a:cxn>
                <a:cxn ang="0">
                  <a:pos x="153" y="0"/>
                </a:cxn>
                <a:cxn ang="0">
                  <a:pos x="153" y="0"/>
                </a:cxn>
                <a:cxn ang="0">
                  <a:pos x="0" y="158"/>
                </a:cxn>
                <a:cxn ang="0">
                  <a:pos x="53" y="236"/>
                </a:cxn>
                <a:cxn ang="0">
                  <a:pos x="107" y="237"/>
                </a:cxn>
                <a:cxn ang="0">
                  <a:pos x="147" y="210"/>
                </a:cxn>
                <a:cxn ang="0">
                  <a:pos x="239" y="111"/>
                </a:cxn>
                <a:cxn ang="0">
                  <a:pos x="286" y="154"/>
                </a:cxn>
                <a:cxn ang="0">
                  <a:pos x="286" y="152"/>
                </a:cxn>
              </a:cxnLst>
              <a:rect l="0" t="0" r="r" b="b"/>
              <a:pathLst>
                <a:path w="286" h="243">
                  <a:moveTo>
                    <a:pt x="286" y="152"/>
                  </a:moveTo>
                  <a:cubicBezTo>
                    <a:pt x="286" y="112"/>
                    <a:pt x="266" y="78"/>
                    <a:pt x="237" y="51"/>
                  </a:cubicBezTo>
                  <a:cubicBezTo>
                    <a:pt x="215" y="30"/>
                    <a:pt x="188" y="15"/>
                    <a:pt x="160" y="3"/>
                  </a:cubicBezTo>
                  <a:cubicBezTo>
                    <a:pt x="158" y="2"/>
                    <a:pt x="156" y="1"/>
                    <a:pt x="153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19" y="41"/>
                    <a:pt x="0" y="72"/>
                    <a:pt x="0" y="158"/>
                  </a:cubicBezTo>
                  <a:cubicBezTo>
                    <a:pt x="0" y="192"/>
                    <a:pt x="21" y="224"/>
                    <a:pt x="53" y="236"/>
                  </a:cubicBezTo>
                  <a:cubicBezTo>
                    <a:pt x="71" y="243"/>
                    <a:pt x="89" y="243"/>
                    <a:pt x="107" y="237"/>
                  </a:cubicBezTo>
                  <a:cubicBezTo>
                    <a:pt x="123" y="232"/>
                    <a:pt x="136" y="222"/>
                    <a:pt x="147" y="210"/>
                  </a:cubicBezTo>
                  <a:cubicBezTo>
                    <a:pt x="182" y="171"/>
                    <a:pt x="197" y="111"/>
                    <a:pt x="239" y="111"/>
                  </a:cubicBezTo>
                  <a:cubicBezTo>
                    <a:pt x="279" y="111"/>
                    <a:pt x="284" y="139"/>
                    <a:pt x="286" y="154"/>
                  </a:cubicBezTo>
                  <a:cubicBezTo>
                    <a:pt x="286" y="154"/>
                    <a:pt x="286" y="153"/>
                    <a:pt x="286" y="152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anchor="t" anchorCtr="0" bIns="45720" compatLnSpc="1" lIns="91440" numCol="1" rIns="91440" tIns="45720" vert="horz" wrap="square">
              <a:prstTxWarp prst="textNoShape"/>
            </a:bodyPr>
            <a:p>
              <a:endParaRPr dirty="0" lang="en-GB"/>
            </a:p>
          </p:txBody>
        </p:sp>
      </p:grpSp>
      <p:sp>
        <p:nvSpPr>
          <p:cNvPr id="1048578" name="Retângulo 43"/>
          <p:cNvSpPr/>
          <p:nvPr userDrawn="1"/>
        </p:nvSpPr>
        <p:spPr>
          <a:xfrm>
            <a:off x="11751670" y="6655066"/>
            <a:ext cx="63501" cy="114301"/>
          </a:xfrm>
          <a:prstGeom prst="rect"/>
        </p:spPr>
        <p:txBody>
          <a:bodyPr anchor="ctr" anchorCtr="0" bIns="0" lIns="0" rIns="0" tIns="0" wrap="none">
            <a:spAutoFit/>
          </a:bodyPr>
          <a:p>
            <a:pPr algn="r"/>
            <a:fld id="{0502E5A9-B53C-401E-A0E0-4A359BB0A9E5}" type="slidenum">
              <a:rPr sz="800" lang="en-US" smtClean="0">
                <a:solidFill>
                  <a:schemeClr val="bg1">
                    <a:lumMod val="65000"/>
                  </a:schemeClr>
                </a:solidFill>
                <a:cs typeface="Arial" panose="020B0604020202020204" pitchFamily="34" charset="0"/>
              </a:rPr>
              <a:pPr algn="r"/>
              <a:t>‹#›</a:t>
            </a:fld>
            <a:endParaRPr dirty="0" sz="800" lang="en-US">
              <a:solidFill>
                <a:schemeClr val="bg1">
                  <a:lumMod val="65000"/>
                </a:schemeClr>
              </a:solidFill>
              <a:cs typeface="Arial" panose="020B0604020202020204" pitchFamily="34" charset="0"/>
            </a:endParaRPr>
          </a:p>
        </p:txBody>
      </p:sp>
      <p:sp>
        <p:nvSpPr>
          <p:cNvPr id="1048579" name="Text Placeholder 7"/>
          <p:cNvSpPr txBox="1"/>
          <p:nvPr userDrawn="1"/>
        </p:nvSpPr>
        <p:spPr>
          <a:xfrm>
            <a:off x="9017223" y="6650661"/>
            <a:ext cx="2664297" cy="123111"/>
          </a:xfrm>
          <a:prstGeom prst="rect"/>
        </p:spPr>
        <p:txBody>
          <a:bodyPr anchor="ctr" anchorCtr="0" bIns="0" lIns="0" rIns="0" tIns="0">
            <a:noAutofit/>
          </a:bodyPr>
          <a:lstStyle>
            <a:lvl1pPr algn="l" defTabSz="914400" eaLnBrk="1" hangingPunct="1" indent="0" latinLnBrk="0" marL="0" rtl="0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800" kern="1200">
                <a:solidFill>
                  <a:srgbClr val="7F7F7F"/>
                </a:solidFill>
                <a:latin typeface="+mn-lt"/>
                <a:ea typeface="+mn-ea"/>
                <a:cs typeface="+mn-cs"/>
              </a:defRPr>
            </a:lvl1pPr>
            <a:lvl2pPr algn="l" defTabSz="914400" eaLnBrk="1" hangingPunct="1" indent="-228600" latinLnBrk="0" marL="685800" rtl="0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914400" eaLnBrk="1" hangingPunct="1" indent="-228600" latinLnBrk="0" marL="1143000" rtl="0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algn="l" defTabSz="914400" eaLnBrk="1" hangingPunct="1" indent="-228600" latinLnBrk="0" marL="1600200" rtl="0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algn="l" defTabSz="914400" eaLnBrk="1" hangingPunct="1" indent="-228600" latinLnBrk="0" marL="2057400" rtl="0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algn="l" defTabSz="914400" eaLnBrk="1" hangingPunct="1" indent="-228600" latinLnBrk="0" marL="2514600" rtl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algn="l" defTabSz="914400" eaLnBrk="1" hangingPunct="1" indent="-228600" latinLnBrk="0" marL="2971800" rtl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algn="l" defTabSz="914400" eaLnBrk="1" hangingPunct="1" indent="-228600" latinLnBrk="0" marL="3429000" rtl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algn="l" defTabSz="914400" eaLnBrk="1" hangingPunct="1" indent="-228600" latinLnBrk="0" marL="3886200" rtl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914400" eaLnBrk="1" fontAlgn="auto" hangingPunct="1" indent="0" latinLnBrk="0" marL="0" marR="0" rtl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</a:pPr>
            <a:r>
              <a:rPr dirty="0" lang="en-US">
                <a:solidFill>
                  <a:schemeClr val="bg1">
                    <a:lumMod val="65000"/>
                  </a:schemeClr>
                </a:solidFill>
              </a:rPr>
              <a:t>© Capgemini 2017. All rights reserved  </a:t>
            </a:r>
            <a:r>
              <a:rPr dirty="0" lang="en-US">
                <a:solidFill>
                  <a:schemeClr val="accent2"/>
                </a:solidFill>
              </a:rPr>
              <a:t>|</a:t>
            </a:r>
          </a:p>
        </p:txBody>
      </p:sp>
      <p:sp>
        <p:nvSpPr>
          <p:cNvPr id="1048580" name="Text Placeholder 7"/>
          <p:cNvSpPr txBox="1"/>
          <p:nvPr userDrawn="1"/>
        </p:nvSpPr>
        <p:spPr>
          <a:xfrm>
            <a:off x="227348" y="6650661"/>
            <a:ext cx="4716524" cy="123111"/>
          </a:xfrm>
          <a:prstGeom prst="rect"/>
        </p:spPr>
        <p:txBody>
          <a:bodyPr anchor="ctr" anchorCtr="0" bIns="0" lIns="0" rIns="0" tIns="0" wrap="none">
            <a:noAutofit/>
          </a:bodyPr>
          <a:lstStyle>
            <a:lvl1pPr algn="l" defTabSz="914400" eaLnBrk="1" hangingPunct="1" indent="0" latinLnBrk="0" marL="0" rtl="0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800" kern="1200">
                <a:solidFill>
                  <a:srgbClr val="7F7F7F"/>
                </a:solidFill>
                <a:latin typeface="+mn-lt"/>
                <a:ea typeface="+mn-ea"/>
                <a:cs typeface="+mn-cs"/>
              </a:defRPr>
            </a:lvl1pPr>
            <a:lvl2pPr algn="l" defTabSz="914400" eaLnBrk="1" hangingPunct="1" indent="-228600" latinLnBrk="0" marL="685800" rtl="0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914400" eaLnBrk="1" hangingPunct="1" indent="-228600" latinLnBrk="0" marL="1143000" rtl="0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algn="l" defTabSz="914400" eaLnBrk="1" hangingPunct="1" indent="-228600" latinLnBrk="0" marL="1600200" rtl="0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algn="l" defTabSz="914400" eaLnBrk="1" hangingPunct="1" indent="-228600" latinLnBrk="0" marL="2057400" rtl="0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algn="l" defTabSz="914400" eaLnBrk="1" hangingPunct="1" indent="-228600" latinLnBrk="0" marL="2514600" rtl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algn="l" defTabSz="914400" eaLnBrk="1" hangingPunct="1" indent="-228600" latinLnBrk="0" marL="2971800" rtl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algn="l" defTabSz="914400" eaLnBrk="1" hangingPunct="1" indent="-228600" latinLnBrk="0" marL="3429000" rtl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algn="l" defTabSz="914400" eaLnBrk="1" hangingPunct="1" indent="-228600" latinLnBrk="0" marL="3886200" rtl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dirty="0" lang="en-US">
                <a:solidFill>
                  <a:schemeClr val="bg1">
                    <a:lumMod val="65000"/>
                  </a:schemeClr>
                </a:solidFill>
              </a:rPr>
              <a:t>Presentation Title | Author | Date</a:t>
            </a:r>
          </a:p>
        </p:txBody>
      </p:sp>
      <p:sp>
        <p:nvSpPr>
          <p:cNvPr id="1048581" name="Espace réservé du texte 3"/>
          <p:cNvSpPr>
            <a:spLocks noGrp="1"/>
          </p:cNvSpPr>
          <p:nvPr userDrawn="1">
            <p:ph type="body" idx="1"/>
          </p:nvPr>
        </p:nvSpPr>
        <p:spPr>
          <a:xfrm>
            <a:off x="227348" y="1815352"/>
            <a:ext cx="11700000" cy="4466201"/>
          </a:xfrm>
          <a:prstGeom prst="rect"/>
        </p:spPr>
        <p:txBody>
          <a:bodyPr bIns="0" lIns="0" rIns="0" rtlCol="0" tIns="0" vert="horz">
            <a:normAutofit/>
          </a:bodyPr>
          <a:p>
            <a:pPr lvl="0"/>
            <a:r>
              <a:rPr dirty="0" lang="fr-FR"/>
              <a:t>Modifiez les styles du texte du masque</a:t>
            </a:r>
          </a:p>
          <a:p>
            <a:pPr lvl="1"/>
            <a:r>
              <a:rPr dirty="0" lang="fr-FR"/>
              <a:t>Deuxième niveau</a:t>
            </a:r>
          </a:p>
          <a:p>
            <a:pPr lvl="2"/>
            <a:r>
              <a:rPr dirty="0" lang="fr-FR"/>
              <a:t>Troisième niveau</a:t>
            </a:r>
          </a:p>
          <a:p>
            <a:pPr lvl="3"/>
            <a:r>
              <a:rPr dirty="0" lang="fr-FR"/>
              <a:t>Quatrième niveau</a:t>
            </a:r>
          </a:p>
          <a:p>
            <a:pPr lvl="4"/>
            <a:r>
              <a:rPr dirty="0" lang="fr-FR"/>
              <a:t>Cinquième niveau</a:t>
            </a:r>
            <a:endParaRPr dirty="0" lang="en-US"/>
          </a:p>
        </p:txBody>
      </p:sp>
      <p:sp>
        <p:nvSpPr>
          <p:cNvPr id="1048582" name="Espace réservé du titre 8"/>
          <p:cNvSpPr>
            <a:spLocks noGrp="1"/>
          </p:cNvSpPr>
          <p:nvPr>
            <p:ph type="title"/>
          </p:nvPr>
        </p:nvSpPr>
        <p:spPr>
          <a:xfrm>
            <a:off x="227349" y="0"/>
            <a:ext cx="11125236" cy="1104900"/>
          </a:xfrm>
          <a:prstGeom prst="rect"/>
        </p:spPr>
        <p:txBody>
          <a:bodyPr anchor="ctr" bIns="0" lIns="0" rIns="0" rtlCol="0" tIns="0" vert="horz">
            <a:noAutofit/>
          </a:bodyPr>
          <a:p>
            <a:pPr algn="l" defTabSz="914400" eaLnBrk="1" fontAlgn="auto" hangingPunct="1" indent="0" latinLnBrk="0" lvl="0" marL="0" marR="0" rtl="0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dirty="0" lang="fr-FR"/>
              <a:t>Click to insert </a:t>
            </a:r>
            <a:r>
              <a:rPr dirty="0" lang="fr-FR" err="1"/>
              <a:t>title</a:t>
            </a:r>
            <a:endParaRPr dirty="0" lang="en-US"/>
          </a:p>
        </p:txBody>
      </p:sp>
    </p:spTree>
  </p:cSld>
  <p:clrMap accent1="accent1" accent2="accent2" accent3="accent3" accent4="accent4" accent5="accent5" accent6="accent6" bg1="lt1" bg2="lt2" tx1="dk1" tx2="dk2" hlink="hlink" folHlink="folHlink"/>
  <p:sldLayoutIdLst>
    <p:sldLayoutId id="2147483650" r:id="rId1"/>
    <p:sldLayoutId id="2147483651" r:id="rId2"/>
    <p:sldLayoutId id="2147483652" r:id="rId3"/>
    <p:sldLayoutId id="2147483653" r:id="rId4"/>
    <p:sldLayoutId id="2147483654" r:id="rId5"/>
    <p:sldLayoutId id="2147483655" r:id="rId6"/>
    <p:sldLayoutId id="2147483656" r:id="rId7"/>
    <p:sldLayoutId id="2147483657" r:id="rId8"/>
  </p:sldLayoutIdLst>
  <p:txStyles>
    <p:titleStyle>
      <a:lvl1pPr algn="l" defTabSz="914400" eaLnBrk="1" fontAlgn="auto" hangingPunct="1" indent="0" latinLnBrk="0" marL="0" marR="0" rtl="0">
        <a:lnSpc>
          <a:spcPct val="90000"/>
        </a:lnSpc>
        <a:spcBef>
          <a:spcPct val="0"/>
        </a:spcBef>
        <a:spcAft>
          <a:spcPts val="0"/>
        </a:spcAft>
        <a:buClrTx/>
        <a:buSzTx/>
        <a:buFontTx/>
        <a:buNone/>
        <a:defRPr baseline="0" b="0" cap="none" dirty="0" sz="3000" i="0" kern="1200" kumimoji="0" lang="en-US" noProof="0" normalizeH="0" spc="0" strike="noStrike" u="none">
          <a:ln>
            <a:noFill/>
          </a:ln>
          <a:solidFill>
            <a:schemeClr val="accent1"/>
          </a:solidFill>
          <a:effectLst/>
          <a:uLnTx/>
          <a:uFillTx/>
          <a:latin typeface="+mj-lt"/>
          <a:ea typeface="+mj-ea"/>
          <a:cs typeface="+mj-cs"/>
        </a:defRPr>
      </a:lvl1pPr>
    </p:titleStyle>
    <p:bodyStyle>
      <a:lvl1pPr algn="l" defTabSz="914400" eaLnBrk="1" hangingPunct="1" indent="0" latinLnBrk="0" marL="0" rtl="0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2000" kern="1200">
          <a:solidFill>
            <a:schemeClr val="tx1"/>
          </a:solidFill>
          <a:latin typeface="+mj-lt"/>
          <a:ea typeface="+mn-ea"/>
          <a:cs typeface="+mn-cs"/>
        </a:defRPr>
      </a:lvl1pPr>
      <a:lvl2pPr algn="l" defTabSz="914400" eaLnBrk="1" hangingPunct="1" indent="-177800" latinLnBrk="0" marL="266700" rtl="0">
        <a:lnSpc>
          <a:spcPct val="90000"/>
        </a:lnSpc>
        <a:spcBef>
          <a:spcPts val="500"/>
        </a:spcBef>
        <a:buClr>
          <a:schemeClr val="accent1"/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j-lt"/>
          <a:ea typeface="+mn-ea"/>
          <a:cs typeface="+mn-cs"/>
        </a:defRPr>
      </a:lvl2pPr>
      <a:lvl3pPr algn="l" defTabSz="914400" eaLnBrk="1" hangingPunct="1" indent="-177800" latinLnBrk="0" marL="444500" rtl="0">
        <a:lnSpc>
          <a:spcPct val="90000"/>
        </a:lnSpc>
        <a:spcBef>
          <a:spcPts val="500"/>
        </a:spcBef>
        <a:buClr>
          <a:schemeClr val="accent2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j-lt"/>
          <a:ea typeface="+mn-ea"/>
          <a:cs typeface="+mn-cs"/>
        </a:defRPr>
      </a:lvl3pPr>
      <a:lvl4pPr algn="l" defTabSz="914400" eaLnBrk="1" hangingPunct="1" indent="-177800" latinLnBrk="0" marL="622300" rtl="0">
        <a:lnSpc>
          <a:spcPct val="90000"/>
        </a:lnSpc>
        <a:spcBef>
          <a:spcPts val="500"/>
        </a:spcBef>
        <a:buClr>
          <a:schemeClr val="accent3"/>
        </a:buClr>
        <a:buFont typeface="Verdana" panose="020B0604030504040204" pitchFamily="34" charset="0"/>
        <a:buChar char="‒"/>
        <a:defRPr sz="1400" kern="1200">
          <a:solidFill>
            <a:schemeClr val="tx1"/>
          </a:solidFill>
          <a:latin typeface="+mj-lt"/>
          <a:ea typeface="+mn-ea"/>
          <a:cs typeface="+mn-cs"/>
        </a:defRPr>
      </a:lvl4pPr>
      <a:lvl5pPr algn="l" defTabSz="914400" eaLnBrk="1" hangingPunct="1" indent="-190500" latinLnBrk="0" marL="812800" rtl="0">
        <a:lnSpc>
          <a:spcPct val="90000"/>
        </a:lnSpc>
        <a:spcBef>
          <a:spcPts val="500"/>
        </a:spcBef>
        <a:buClr>
          <a:schemeClr val="accent5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j-lt"/>
          <a:ea typeface="+mn-ea"/>
          <a:cs typeface="+mn-cs"/>
        </a:defRPr>
      </a:lvl5pPr>
      <a:lvl6pPr algn="l" defTabSz="914400" eaLnBrk="1" hangingPunct="1" indent="-228600" latinLnBrk="0" marL="2514600" rtl="0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algn="l" defTabSz="914400" eaLnBrk="1" hangingPunct="1" indent="-228600" latinLnBrk="0" marL="2971800" rtl="0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algn="l" defTabSz="914400" eaLnBrk="1" hangingPunct="1" indent="-228600" latinLnBrk="0" marL="3429000" rtl="0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algn="l" defTabSz="914400" eaLnBrk="1" hangingPunct="1" indent="-228600" latinLnBrk="0" marL="3886200" rtl="0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PT"/>
      </a:defPPr>
      <a:lvl1pPr algn="l" defTabSz="914400" eaLnBrk="1" hangingPunct="1" latinLnBrk="0" marL="0" rtl="0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algn="l" defTabSz="914400" eaLnBrk="1" hangingPunct="1" latinLnBrk="0" marL="457200" rtl="0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algn="l" defTabSz="914400" eaLnBrk="1" hangingPunct="1" latinLnBrk="0" marL="914400" rtl="0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algn="l" defTabSz="914400" eaLnBrk="1" hangingPunct="1" latinLnBrk="0" marL="1371600" rtl="0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algn="l" defTabSz="914400" eaLnBrk="1" hangingPunct="1" latinLnBrk="0" marL="1828800" rtl="0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algn="l" defTabSz="914400" eaLnBrk="1" hangingPunct="1" latinLnBrk="0" marL="2286000" rtl="0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algn="l" defTabSz="914400" eaLnBrk="1" hangingPunct="1" latinLnBrk="0" marL="2743200" rtl="0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algn="l" defTabSz="914400" eaLnBrk="1" hangingPunct="1" latinLnBrk="0" marL="3200400" rtl="0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algn="l" defTabSz="914400" eaLnBrk="1" hangingPunct="1" latinLnBrk="0" marL="3657600" rtl="0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
<Relationships xmlns="http://schemas.openxmlformats.org/package/2006/relationships"><Relationship Id="rId1" Type="http://schemas.openxmlformats.org/officeDocument/2006/relationships/hyperlink" Target="mailto:Bhanothu.sai-sreeja@capgemini.com" TargetMode="External"/><Relationship Id="rId2" Type="http://schemas.openxmlformats.org/officeDocument/2006/relationships/hyperlink" Target="https://github.com/saisreeja30/resume.git" TargetMode="External"/><Relationship Id="rId3" Type="http://schemas.openxmlformats.org/officeDocument/2006/relationships/image" Target="../media/image6.png"/><Relationship Id="rId4" Type="http://schemas.openxmlformats.org/officeDocument/2006/relationships/image" Target="../media/image7.jpeg"/><Relationship Id="rId5" Type="http://schemas.openxmlformats.org/officeDocument/2006/relationships/slideLayout" Target="../slideLayouts/slideLayout8.xml"/><Relationship Id="rId6" Type="http://schemas.openxmlformats.org/officeDocument/2006/relationships/notesSlide" Target="../notesSlides/notesSlide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6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8600" name="Text Placeholder 18"/>
          <p:cNvSpPr>
            <a:spLocks noGrp="1"/>
          </p:cNvSpPr>
          <p:nvPr>
            <p:ph type="body" sz="quarter" idx="36"/>
          </p:nvPr>
        </p:nvSpPr>
        <p:spPr>
          <a:xfrm>
            <a:off x="4901746" y="3254984"/>
            <a:ext cx="3943804" cy="3598860"/>
          </a:xfrm>
        </p:spPr>
        <p:txBody>
          <a:bodyPr/>
          <a:p>
            <a:pPr indent="-171450" marL="171450">
              <a:lnSpc>
                <a:spcPct val="114000"/>
              </a:lnSpc>
              <a:buFont typeface="Arial" panose="020B0604020202020204" pitchFamily="34" charset="0"/>
              <a:buChar char="•"/>
            </a:pPr>
            <a:r>
              <a:rPr altLang="en-US" b="1" dirty="0" sz="1100" lang="en-US"/>
              <a:t>O</a:t>
            </a:r>
            <a:r>
              <a:rPr altLang="en-US" b="1" dirty="0" sz="1100" lang="en-US"/>
              <a:t>n</a:t>
            </a:r>
            <a:r>
              <a:rPr altLang="en-US" b="1" dirty="0" sz="1100" lang="en-US"/>
              <a:t>l</a:t>
            </a:r>
            <a:r>
              <a:rPr altLang="en-US" b="1" dirty="0" sz="1100" lang="en-US"/>
              <a:t>i</a:t>
            </a:r>
            <a:r>
              <a:rPr altLang="en-US" b="1" dirty="0" sz="1100" lang="en-US"/>
              <a:t>n</a:t>
            </a:r>
            <a:r>
              <a:rPr altLang="en-US" b="1" dirty="0" sz="1100" lang="en-US"/>
              <a:t>e</a:t>
            </a:r>
            <a:r>
              <a:rPr altLang="en-US" b="1" dirty="0" sz="1100" lang="en-US"/>
              <a:t> </a:t>
            </a:r>
            <a:r>
              <a:rPr altLang="en-US" b="1" dirty="0" sz="1100" lang="en-US"/>
              <a:t> </a:t>
            </a:r>
            <a:r>
              <a:rPr altLang="en-US" b="1" dirty="0" sz="1100" lang="en-US"/>
              <a:t>S</a:t>
            </a:r>
            <a:r>
              <a:rPr altLang="en-US" b="1" dirty="0" sz="1100" lang="en-US"/>
              <a:t>h</a:t>
            </a:r>
            <a:r>
              <a:rPr altLang="en-US" b="1" dirty="0" sz="1100" lang="en-US"/>
              <a:t>o</a:t>
            </a:r>
            <a:r>
              <a:rPr altLang="en-US" b="1" dirty="0" sz="1100" lang="en-US"/>
              <a:t>p</a:t>
            </a:r>
            <a:r>
              <a:rPr altLang="en-US" b="1" dirty="0" sz="1100" lang="en-US"/>
              <a:t>p</a:t>
            </a:r>
            <a:r>
              <a:rPr altLang="en-US" b="1" dirty="0" sz="1100" lang="en-US"/>
              <a:t>i</a:t>
            </a:r>
            <a:r>
              <a:rPr altLang="en-US" b="1" dirty="0" sz="1100" lang="en-US"/>
              <a:t>n</a:t>
            </a:r>
            <a:r>
              <a:rPr altLang="en-US" b="1" dirty="0" sz="1100" lang="en-US"/>
              <a:t>g</a:t>
            </a:r>
            <a:r>
              <a:rPr altLang="en-US" b="1" dirty="0" sz="1100" lang="en-US"/>
              <a:t> </a:t>
            </a:r>
            <a:r>
              <a:rPr altLang="en-US" b="1" dirty="0" sz="1100" lang="en-US"/>
              <a:t> </a:t>
            </a:r>
            <a:r>
              <a:rPr altLang="en-US" b="1" dirty="0" sz="1100" lang="en-US"/>
              <a:t>W</a:t>
            </a:r>
            <a:r>
              <a:rPr altLang="en-US" b="1" dirty="0" sz="1100" lang="en-US"/>
              <a:t>e</a:t>
            </a:r>
            <a:r>
              <a:rPr altLang="en-US" b="1" dirty="0" sz="1100" lang="en-US"/>
              <a:t>b</a:t>
            </a:r>
            <a:r>
              <a:rPr altLang="en-US" b="1" dirty="0" sz="1100" lang="en-US"/>
              <a:t>s</a:t>
            </a:r>
            <a:r>
              <a:rPr altLang="en-US" b="1" dirty="0" sz="1100" lang="en-US"/>
              <a:t>i</a:t>
            </a:r>
            <a:r>
              <a:rPr altLang="en-US" b="1" dirty="0" sz="1100" lang="en-US"/>
              <a:t>t</a:t>
            </a:r>
            <a:r>
              <a:rPr altLang="en-US" b="1" dirty="0" sz="1100" lang="en-US"/>
              <a:t>e</a:t>
            </a:r>
            <a:endParaRPr altLang="en-US" lang="zh-CN"/>
          </a:p>
          <a:p>
            <a:pPr>
              <a:lnSpc>
                <a:spcPct val="114000"/>
              </a:lnSpc>
            </a:pPr>
            <a:r>
              <a:rPr altLang="en-US" dirty="0" sz="1100" lang="en-IN"/>
              <a:t>Developed a</a:t>
            </a:r>
            <a:r>
              <a:rPr altLang="en-US" dirty="0" sz="1100" lang="en-US"/>
              <a:t> </a:t>
            </a:r>
            <a:r>
              <a:rPr altLang="en-US" dirty="0" sz="1100" lang="en-US"/>
              <a:t>o</a:t>
            </a:r>
            <a:r>
              <a:rPr altLang="en-US" dirty="0" sz="1100" lang="en-US"/>
              <a:t>n</a:t>
            </a:r>
            <a:r>
              <a:rPr altLang="en-US" dirty="0" sz="1100" lang="en-US"/>
              <a:t>l</a:t>
            </a:r>
            <a:r>
              <a:rPr altLang="en-US" dirty="0" sz="1100" lang="en-US"/>
              <a:t>i</a:t>
            </a:r>
            <a:r>
              <a:rPr altLang="en-US" dirty="0" sz="1100" lang="en-US"/>
              <a:t>n</a:t>
            </a:r>
            <a:r>
              <a:rPr altLang="en-US" dirty="0" sz="1100" lang="en-US"/>
              <a:t>e</a:t>
            </a:r>
            <a:r>
              <a:rPr altLang="en-US" dirty="0" sz="1100" lang="en-US"/>
              <a:t> </a:t>
            </a:r>
            <a:r>
              <a:rPr altLang="en-US" dirty="0" sz="1100" lang="en-US"/>
              <a:t>s</a:t>
            </a:r>
            <a:r>
              <a:rPr altLang="en-US" dirty="0" sz="1100" lang="en-US"/>
              <a:t>h</a:t>
            </a:r>
            <a:r>
              <a:rPr altLang="en-US" dirty="0" sz="1100" lang="en-US"/>
              <a:t>o</a:t>
            </a:r>
            <a:r>
              <a:rPr altLang="en-US" dirty="0" sz="1100" lang="en-US"/>
              <a:t>p</a:t>
            </a:r>
            <a:r>
              <a:rPr altLang="en-US" dirty="0" sz="1100" lang="en-US"/>
              <a:t>p</a:t>
            </a:r>
            <a:r>
              <a:rPr altLang="en-US" dirty="0" sz="1100" lang="en-US"/>
              <a:t>i</a:t>
            </a:r>
            <a:r>
              <a:rPr altLang="en-US" dirty="0" sz="1100" lang="en-US"/>
              <a:t>n</a:t>
            </a:r>
            <a:r>
              <a:rPr altLang="en-US" dirty="0" sz="1100" lang="en-US"/>
              <a:t>g</a:t>
            </a:r>
            <a:r>
              <a:rPr altLang="en-US" dirty="0" sz="1100" lang="en-US"/>
              <a:t> </a:t>
            </a:r>
            <a:r>
              <a:rPr altLang="en-US" dirty="0" sz="1100" lang="en-US"/>
              <a:t>w</a:t>
            </a:r>
            <a:r>
              <a:rPr altLang="en-US" dirty="0" sz="1100" lang="en-US"/>
              <a:t>e</a:t>
            </a:r>
            <a:r>
              <a:rPr altLang="en-US" dirty="0" sz="1100" lang="en-US"/>
              <a:t>b</a:t>
            </a:r>
            <a:r>
              <a:rPr altLang="en-US" dirty="0" sz="1100" lang="en-US"/>
              <a:t>s</a:t>
            </a:r>
            <a:r>
              <a:rPr altLang="en-US" dirty="0" sz="1100" lang="en-US"/>
              <a:t>i</a:t>
            </a:r>
            <a:r>
              <a:rPr altLang="en-US" dirty="0" sz="1100" lang="en-US"/>
              <a:t>t</a:t>
            </a:r>
            <a:r>
              <a:rPr altLang="en-US" dirty="0" sz="1100" lang="en-US"/>
              <a:t>e</a:t>
            </a:r>
            <a:r>
              <a:rPr altLang="en-US" dirty="0" sz="1100" lang="en-US"/>
              <a:t> </a:t>
            </a:r>
            <a:r>
              <a:rPr altLang="en-US" dirty="0" sz="1100" lang="en-US"/>
              <a:t>a</a:t>
            </a:r>
            <a:r>
              <a:rPr altLang="en-US" dirty="0" sz="1100" lang="en-IN"/>
              <a:t>long with JWT authentication, Swagger and Core API using Asp. Net Core MVC,</a:t>
            </a:r>
            <a:r>
              <a:rPr altLang="en-US" dirty="0" sz="1100" lang="en-US"/>
              <a:t> Microsoft SQL and Bootstrap used for user interface. </a:t>
            </a:r>
            <a:endParaRPr altLang="en-US" lang="zh-CN"/>
          </a:p>
          <a:p>
            <a:pPr>
              <a:lnSpc>
                <a:spcPct val="114000"/>
              </a:lnSpc>
            </a:pPr>
            <a:endParaRPr altLang="nl-NL" b="1" dirty="0" sz="1100" lang="en-US"/>
          </a:p>
          <a:p>
            <a:pPr indent="-171450" marL="171450">
              <a:lnSpc>
                <a:spcPct val="114000"/>
              </a:lnSpc>
              <a:buFont typeface="Arial" panose="020B0604020202020204" pitchFamily="34" charset="0"/>
              <a:buChar char="•"/>
            </a:pPr>
            <a:r>
              <a:rPr altLang="en-US" b="1" dirty="0" sz="1100" lang="en-IN"/>
              <a:t>AZ – 900 Microsoft Azure Fundamentals Certification </a:t>
            </a:r>
          </a:p>
          <a:p>
            <a:pPr>
              <a:lnSpc>
                <a:spcPct val="114000"/>
              </a:lnSpc>
            </a:pPr>
            <a:r>
              <a:rPr altLang="en-US" dirty="0" sz="1100" lang="en-IN"/>
              <a:t>Learning AZ- 900 Microsoft Azure Fundamentals.</a:t>
            </a:r>
          </a:p>
          <a:p>
            <a:pPr eaLnBrk="1" hangingPunct="1">
              <a:lnSpc>
                <a:spcPct val="114000"/>
              </a:lnSpc>
            </a:pPr>
            <a:endParaRPr altLang="en-US" dirty="0" lang="en-IN"/>
          </a:p>
          <a:p>
            <a:pPr eaLnBrk="1" hangingPunct="1">
              <a:lnSpc>
                <a:spcPct val="114000"/>
              </a:lnSpc>
            </a:pPr>
            <a:endParaRPr altLang="nl-NL" b="1" dirty="0" lang="en-IN"/>
          </a:p>
          <a:p>
            <a:pPr eaLnBrk="1" hangingPunct="1">
              <a:lnSpc>
                <a:spcPct val="114000"/>
              </a:lnSpc>
            </a:pPr>
            <a:endParaRPr altLang="en-US" dirty="0" lang="en-IN"/>
          </a:p>
          <a:p>
            <a:pPr eaLnBrk="1" hangingPunct="1">
              <a:lnSpc>
                <a:spcPct val="114000"/>
              </a:lnSpc>
            </a:pPr>
            <a:endParaRPr altLang="nl-NL" b="1" dirty="0" lang="en-US"/>
          </a:p>
          <a:p>
            <a:pPr eaLnBrk="1" hangingPunct="1">
              <a:lnSpc>
                <a:spcPct val="114000"/>
              </a:lnSpc>
            </a:pPr>
            <a:endParaRPr altLang="en-US" dirty="0" lang="en-IN"/>
          </a:p>
          <a:p>
            <a:pPr eaLnBrk="1" hangingPunct="1">
              <a:lnSpc>
                <a:spcPct val="114000"/>
              </a:lnSpc>
            </a:pPr>
            <a:endParaRPr altLang="en-US" dirty="0" lang="en-IN"/>
          </a:p>
          <a:p>
            <a:pPr eaLnBrk="1" hangingPunct="1">
              <a:lnSpc>
                <a:spcPct val="114000"/>
              </a:lnSpc>
            </a:pPr>
            <a:endParaRPr altLang="en-US" dirty="0" lang="en-IN"/>
          </a:p>
          <a:p>
            <a:pPr eaLnBrk="1" hangingPunct="1">
              <a:lnSpc>
                <a:spcPct val="114000"/>
              </a:lnSpc>
            </a:pPr>
            <a:endParaRPr altLang="en-US" dirty="0" lang="en-IN"/>
          </a:p>
          <a:p>
            <a:pPr eaLnBrk="1" hangingPunct="1">
              <a:lnSpc>
                <a:spcPct val="114000"/>
              </a:lnSpc>
            </a:pPr>
            <a:endParaRPr altLang="en-US" dirty="0" lang="en-IN"/>
          </a:p>
          <a:p>
            <a:pPr eaLnBrk="1" hangingPunct="1">
              <a:lnSpc>
                <a:spcPct val="114000"/>
              </a:lnSpc>
            </a:pPr>
            <a:endParaRPr altLang="en-US" dirty="0" lang="en-IN"/>
          </a:p>
          <a:p>
            <a:pPr eaLnBrk="1" hangingPunct="1">
              <a:lnSpc>
                <a:spcPct val="114000"/>
              </a:lnSpc>
            </a:pPr>
            <a:endParaRPr altLang="en-US" dirty="0" lang="en-IN"/>
          </a:p>
          <a:p>
            <a:pPr eaLnBrk="1" hangingPunct="1">
              <a:lnSpc>
                <a:spcPct val="114000"/>
              </a:lnSpc>
            </a:pPr>
            <a:endParaRPr altLang="en-US" dirty="0" lang="en-IN"/>
          </a:p>
          <a:p>
            <a:pPr eaLnBrk="1" hangingPunct="1">
              <a:lnSpc>
                <a:spcPct val="114000"/>
              </a:lnSpc>
            </a:pPr>
            <a:endParaRPr altLang="en-US" dirty="0" lang="en-IN"/>
          </a:p>
          <a:p>
            <a:pPr eaLnBrk="1" hangingPunct="1">
              <a:lnSpc>
                <a:spcPct val="114000"/>
              </a:lnSpc>
            </a:pPr>
            <a:endParaRPr altLang="en-US" dirty="0" lang="en-IN"/>
          </a:p>
          <a:p>
            <a:pPr eaLnBrk="1" hangingPunct="1">
              <a:lnSpc>
                <a:spcPct val="114000"/>
              </a:lnSpc>
            </a:pPr>
            <a:endParaRPr altLang="en-US" dirty="0" lang="en-IN"/>
          </a:p>
          <a:p>
            <a:pPr eaLnBrk="1" hangingPunct="1">
              <a:lnSpc>
                <a:spcPct val="114000"/>
              </a:lnSpc>
            </a:pPr>
            <a:endParaRPr altLang="nl-NL" b="1" dirty="0" lang="en-US"/>
          </a:p>
          <a:p>
            <a:pPr eaLnBrk="1" hangingPunct="1">
              <a:lnSpc>
                <a:spcPct val="114000"/>
              </a:lnSpc>
            </a:pPr>
            <a:br>
              <a:rPr altLang="nl-NL" dirty="0" lang="en-US"/>
            </a:br>
            <a:br>
              <a:rPr altLang="nl-NL" dirty="0" lang="en-US"/>
            </a:br>
            <a:endParaRPr altLang="nl-NL" dirty="0" lang="nl-NL"/>
          </a:p>
        </p:txBody>
      </p:sp>
      <p:sp>
        <p:nvSpPr>
          <p:cNvPr id="1048601" name="Text Placeholder 21"/>
          <p:cNvSpPr>
            <a:spLocks noGrp="1"/>
          </p:cNvSpPr>
          <p:nvPr>
            <p:ph type="body" sz="quarter" idx="42"/>
          </p:nvPr>
        </p:nvSpPr>
        <p:spPr>
          <a:xfrm>
            <a:off x="2468563" y="703263"/>
            <a:ext cx="6056312" cy="322262"/>
          </a:xfrm>
        </p:spPr>
        <p:txBody>
          <a:bodyPr/>
          <a:p>
            <a:pPr fontAlgn="base">
              <a:spcBef>
                <a:spcPct val="0"/>
              </a:spcBef>
            </a:pPr>
            <a:r>
              <a:rPr altLang="nl-NL" dirty="0" lang="nl-NL"/>
              <a:t>Analyst/Software Engineer</a:t>
            </a:r>
          </a:p>
        </p:txBody>
      </p:sp>
      <p:sp>
        <p:nvSpPr>
          <p:cNvPr id="1048602" name="Text Placeholder 22"/>
          <p:cNvSpPr>
            <a:spLocks noGrp="1"/>
          </p:cNvSpPr>
          <p:nvPr>
            <p:ph type="body" sz="quarter" idx="43"/>
          </p:nvPr>
        </p:nvSpPr>
        <p:spPr>
          <a:xfrm>
            <a:off x="3649663" y="1353344"/>
            <a:ext cx="2374900" cy="417512"/>
          </a:xfrm>
        </p:spPr>
        <p:txBody>
          <a:bodyPr/>
          <a:p>
            <a:pPr eaLnBrk="1" hangingPunct="1"/>
            <a:r>
              <a:rPr altLang="nl-NL" dirty="0" lang="nl-NL"/>
              <a:t>Mumbai</a:t>
            </a:r>
          </a:p>
          <a:p>
            <a:pPr eaLnBrk="1" hangingPunct="1"/>
            <a:endParaRPr altLang="nl-NL" dirty="0" lang="nl-NL"/>
          </a:p>
        </p:txBody>
      </p:sp>
      <p:sp>
        <p:nvSpPr>
          <p:cNvPr id="1048603" name="Text Placeholder 24"/>
          <p:cNvSpPr>
            <a:spLocks noGrp="1"/>
          </p:cNvSpPr>
          <p:nvPr>
            <p:ph type="body" sz="quarter" idx="47"/>
          </p:nvPr>
        </p:nvSpPr>
        <p:spPr>
          <a:xfrm>
            <a:off x="3254413" y="1584326"/>
            <a:ext cx="3123369" cy="175021"/>
          </a:xfrm>
        </p:spPr>
        <p:txBody>
          <a:bodyPr/>
          <a:p>
            <a:pPr eaLnBrk="1" hangingPunct="1"/>
            <a:r>
              <a:rPr altLang="nl-NL" dirty="0" lang="en-US">
                <a:hlinkClick r:id="rId1"/>
              </a:rPr>
              <a:t>v</a:t>
            </a:r>
            <a:r>
              <a:rPr altLang="nl-NL" dirty="0" lang="en-US">
                <a:hlinkClick r:id="rId1"/>
              </a:rPr>
              <a:t>a</a:t>
            </a:r>
            <a:r>
              <a:rPr altLang="nl-NL" dirty="0" lang="en-US">
                <a:hlinkClick r:id="rId1"/>
              </a:rPr>
              <a:t>r</a:t>
            </a:r>
            <a:r>
              <a:rPr altLang="nl-NL" dirty="0" lang="en-US">
                <a:hlinkClick r:id="rId1"/>
              </a:rPr>
              <a:t>s</a:t>
            </a:r>
            <a:r>
              <a:rPr altLang="nl-NL" dirty="0" lang="en-US">
                <a:hlinkClick r:id="rId1"/>
              </a:rPr>
              <a:t>h</a:t>
            </a:r>
            <a:r>
              <a:rPr altLang="nl-NL" dirty="0" lang="en-US">
                <a:hlinkClick r:id="rId1"/>
              </a:rPr>
              <a:t>a</a:t>
            </a:r>
            <a:r>
              <a:rPr altLang="nl-NL" dirty="0" lang="en-US">
                <a:hlinkClick r:id="rId1"/>
              </a:rPr>
              <a:t>r</a:t>
            </a:r>
            <a:r>
              <a:rPr altLang="nl-NL" dirty="0" lang="en-US">
                <a:hlinkClick r:id="rId1"/>
              </a:rPr>
              <a:t>a</a:t>
            </a:r>
            <a:r>
              <a:rPr altLang="nl-NL" dirty="0" lang="en-US">
                <a:hlinkClick r:id="rId1"/>
              </a:rPr>
              <a:t>n</a:t>
            </a:r>
            <a:r>
              <a:rPr altLang="nl-NL" dirty="0" lang="en-US">
                <a:hlinkClick r:id="rId1"/>
              </a:rPr>
              <a:t>i</a:t>
            </a:r>
            <a:r>
              <a:rPr altLang="nl-NL" dirty="0" lang="en-US">
                <a:hlinkClick r:id="rId1"/>
              </a:rPr>
              <a:t>.</a:t>
            </a:r>
            <a:r>
              <a:rPr altLang="nl-NL" dirty="0" lang="en-US">
                <a:hlinkClick r:id="rId1"/>
              </a:rPr>
              <a:t>n</a:t>
            </a:r>
            <a:r>
              <a:rPr altLang="nl-NL" dirty="0" lang="en-US">
                <a:hlinkClick r:id="rId1"/>
              </a:rPr>
              <a:t>a</a:t>
            </a:r>
            <a:r>
              <a:rPr altLang="nl-NL" dirty="0" lang="en-US">
                <a:hlinkClick r:id="rId1"/>
              </a:rPr>
              <a:t>g</a:t>
            </a:r>
            <a:r>
              <a:rPr altLang="nl-NL" dirty="0" lang="en-US">
                <a:hlinkClick r:id="rId1"/>
              </a:rPr>
              <a:t>a</a:t>
            </a:r>
            <a:r>
              <a:rPr altLang="nl-NL" dirty="0" lang="en-US">
                <a:hlinkClick r:id="rId1"/>
              </a:rPr>
              <a:t>r</a:t>
            </a:r>
            <a:r>
              <a:rPr altLang="nl-NL" dirty="0" lang="en-US">
                <a:hlinkClick r:id="rId1"/>
              </a:rPr>
              <a:t>e</a:t>
            </a:r>
            <a:r>
              <a:rPr altLang="nl-NL" dirty="0" lang="en-US">
                <a:hlinkClick r:id="rId1"/>
              </a:rPr>
              <a:t>@</a:t>
            </a:r>
            <a:r>
              <a:rPr altLang="nl-NL" dirty="0" lang="en-US">
                <a:hlinkClick r:id="rId1"/>
              </a:rPr>
              <a:t>c</a:t>
            </a:r>
            <a:r>
              <a:rPr altLang="nl-NL" dirty="0" lang="en-US">
                <a:hlinkClick r:id="rId1"/>
              </a:rPr>
              <a:t>a</a:t>
            </a:r>
            <a:r>
              <a:rPr altLang="nl-NL" dirty="0" lang="en-US">
                <a:hlinkClick r:id="rId1"/>
              </a:rPr>
              <a:t>p</a:t>
            </a:r>
            <a:r>
              <a:rPr altLang="nl-NL" dirty="0" lang="en-US">
                <a:hlinkClick r:id="rId1"/>
              </a:rPr>
              <a:t>g</a:t>
            </a:r>
            <a:r>
              <a:rPr altLang="nl-NL" dirty="0" lang="en-US">
                <a:hlinkClick r:id="rId1"/>
              </a:rPr>
              <a:t>e</a:t>
            </a:r>
            <a:r>
              <a:rPr altLang="nl-NL" dirty="0" lang="en-US">
                <a:hlinkClick r:id="rId1"/>
              </a:rPr>
              <a:t>m</a:t>
            </a:r>
            <a:r>
              <a:rPr altLang="nl-NL" dirty="0" lang="en-US">
                <a:hlinkClick r:id="rId1"/>
              </a:rPr>
              <a:t>i</a:t>
            </a:r>
            <a:r>
              <a:rPr altLang="nl-NL" dirty="0" lang="en-US">
                <a:hlinkClick r:id="rId1"/>
              </a:rPr>
              <a:t>n</a:t>
            </a:r>
            <a:r>
              <a:rPr altLang="nl-NL" dirty="0" lang="en-US">
                <a:hlinkClick r:id="rId1"/>
              </a:rPr>
              <a:t>i</a:t>
            </a:r>
            <a:r>
              <a:rPr altLang="nl-NL" dirty="0" lang="en-US">
                <a:hlinkClick r:id="rId1"/>
              </a:rPr>
              <a:t>.</a:t>
            </a:r>
            <a:r>
              <a:rPr altLang="nl-NL" dirty="0" lang="en-US">
                <a:hlinkClick r:id="rId1"/>
              </a:rPr>
              <a:t>c</a:t>
            </a:r>
            <a:r>
              <a:rPr altLang="nl-NL" dirty="0" lang="en-US">
                <a:hlinkClick r:id="rId1"/>
              </a:rPr>
              <a:t>o</a:t>
            </a:r>
            <a:r>
              <a:rPr altLang="nl-NL" dirty="0" lang="en-US">
                <a:hlinkClick r:id="rId1"/>
              </a:rPr>
              <a:t>m</a:t>
            </a:r>
            <a:r>
              <a:rPr altLang="nl-NL" dirty="0" lang="nl-NL"/>
              <a:t> </a:t>
            </a:r>
            <a:endParaRPr altLang="en-US" lang="zh-CN"/>
          </a:p>
        </p:txBody>
      </p:sp>
      <p:sp>
        <p:nvSpPr>
          <p:cNvPr id="1048604" name="Text Placeholder 25"/>
          <p:cNvSpPr>
            <a:spLocks noGrp="1"/>
          </p:cNvSpPr>
          <p:nvPr>
            <p:ph type="body" sz="quarter" idx="48"/>
          </p:nvPr>
        </p:nvSpPr>
        <p:spPr>
          <a:xfrm>
            <a:off x="3339307" y="1826022"/>
            <a:ext cx="2374106" cy="230982"/>
          </a:xfrm>
        </p:spPr>
        <p:txBody>
          <a:bodyPr/>
          <a:p>
            <a:pPr eaLnBrk="1" hangingPunct="1"/>
            <a:r>
              <a:rPr altLang="nl-NL" dirty="0" lang="nl-NL"/>
              <a:t>+91 </a:t>
            </a:r>
            <a:r>
              <a:rPr altLang="nl-NL" dirty="0" lang="en-US"/>
              <a:t>9</a:t>
            </a:r>
            <a:r>
              <a:rPr altLang="nl-NL" dirty="0" lang="en-US"/>
              <a:t>1</a:t>
            </a:r>
            <a:r>
              <a:rPr altLang="nl-NL" dirty="0" lang="en-US"/>
              <a:t>5</a:t>
            </a:r>
            <a:r>
              <a:rPr altLang="nl-NL" dirty="0" lang="en-US"/>
              <a:t>6</a:t>
            </a:r>
            <a:r>
              <a:rPr altLang="nl-NL" dirty="0" lang="en-US"/>
              <a:t>3</a:t>
            </a:r>
            <a:r>
              <a:rPr altLang="nl-NL" dirty="0" lang="en-US"/>
              <a:t>1</a:t>
            </a:r>
            <a:r>
              <a:rPr altLang="nl-NL" dirty="0" lang="en-US"/>
              <a:t>4</a:t>
            </a:r>
            <a:r>
              <a:rPr altLang="nl-NL" dirty="0" lang="en-US"/>
              <a:t>3</a:t>
            </a:r>
            <a:r>
              <a:rPr altLang="nl-NL" dirty="0" lang="en-US"/>
              <a:t>7</a:t>
            </a:r>
            <a:r>
              <a:rPr altLang="nl-NL" dirty="0" lang="en-US"/>
              <a:t>9</a:t>
            </a:r>
            <a:endParaRPr altLang="en-US" lang="zh-CN"/>
          </a:p>
        </p:txBody>
      </p:sp>
      <p:sp>
        <p:nvSpPr>
          <p:cNvPr id="1048605" name="Text Placeholder 26"/>
          <p:cNvSpPr>
            <a:spLocks noGrp="1"/>
          </p:cNvSpPr>
          <p:nvPr>
            <p:ph type="body" sz="quarter" idx="50"/>
          </p:nvPr>
        </p:nvSpPr>
        <p:spPr>
          <a:xfrm>
            <a:off x="321866" y="3135755"/>
            <a:ext cx="4293393" cy="2892424"/>
          </a:xfrm>
        </p:spPr>
        <p:txBody>
          <a:bodyPr/>
          <a:p>
            <a:pPr indent="-171450" marL="171450">
              <a:buFont typeface="Arial" panose="020B0604020202020204" pitchFamily="34" charset="0"/>
              <a:buChar char="•"/>
            </a:pPr>
            <a:endParaRPr altLang="en-US" dirty="0" sz="1100" lang="en-US"/>
          </a:p>
          <a:p>
            <a:pPr indent="-171450" marL="171450">
              <a:buFont typeface="Arial" panose="020B0604020202020204" pitchFamily="34" charset="0"/>
              <a:buChar char="•"/>
            </a:pPr>
            <a:r>
              <a:rPr altLang="en-US" dirty="0" sz="1100" lang="en-US"/>
              <a:t>Software Engineer who is Strong in design and integration with intuitive problem-solving skills. Passionate about implementing and launching new projects.</a:t>
            </a:r>
          </a:p>
          <a:p>
            <a:pPr indent="-171450" marL="171450">
              <a:buFont typeface="Arial" panose="020B0604020202020204" pitchFamily="34" charset="0"/>
              <a:buChar char="•"/>
            </a:pPr>
            <a:r>
              <a:rPr altLang="en-US" dirty="0" sz="1100" lang="en-US"/>
              <a:t>Ready to learn new technologies and implement them to further improve my knowledge. </a:t>
            </a:r>
          </a:p>
          <a:p>
            <a:pPr indent="-171450" marL="171450">
              <a:buFont typeface="Arial" panose="020B0604020202020204" pitchFamily="34" charset="0"/>
              <a:buChar char="•"/>
            </a:pPr>
            <a:r>
              <a:rPr altLang="en-US" dirty="0" sz="1100" lang="en-US"/>
              <a:t>Ability to learn, adapt and grow.</a:t>
            </a:r>
            <a:endParaRPr dirty="0" sz="1100" lang="en-IN"/>
          </a:p>
          <a:p>
            <a:pPr indent="-171450" marL="171450">
              <a:buFont typeface="Arial" panose="020B0604020202020204" pitchFamily="34" charset="0"/>
              <a:buChar char="•"/>
            </a:pPr>
            <a:r>
              <a:rPr dirty="0" sz="1100" lang="en-IN"/>
              <a:t>tend to keep an open-mind while maintaining stance or opinions.</a:t>
            </a:r>
            <a:endParaRPr altLang="en-US" dirty="0" sz="1100" lang="en-US"/>
          </a:p>
          <a:p>
            <a:br>
              <a:rPr altLang="nl-NL" dirty="0" lang="en-US"/>
            </a:br>
            <a:endParaRPr altLang="nl-NL" dirty="0" lang="en-US"/>
          </a:p>
        </p:txBody>
      </p:sp>
      <p:sp>
        <p:nvSpPr>
          <p:cNvPr id="1048606" name="TextBox 20"/>
          <p:cNvSpPr txBox="1">
            <a:spLocks noChangeArrowheads="1"/>
          </p:cNvSpPr>
          <p:nvPr/>
        </p:nvSpPr>
        <p:spPr bwMode="auto">
          <a:xfrm>
            <a:off x="9305925" y="596900"/>
            <a:ext cx="2717800" cy="6102350"/>
          </a:xfrm>
          <a:prstGeom prst="rect"/>
          <a:noFill/>
          <a:ln>
            <a:noFill/>
          </a:ln>
        </p:spPr>
        <p:txBody>
          <a:bodyPr/>
          <a:lstStyle>
            <a:lvl1pPr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indent="-285750" marL="74295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indent="-228600" marL="11430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indent="-228600" marL="16002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indent="-228600" marL="20574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eaLnBrk="0" fontAlgn="base" hangingPunct="0" indent="-228600" marL="251460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eaLnBrk="0" fontAlgn="base" hangingPunct="0" indent="-228600" marL="297180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eaLnBrk="0" fontAlgn="base" hangingPunct="0" indent="-228600" marL="342900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eaLnBrk="0" fontAlgn="base" hangingPunct="0" indent="-228600" marL="388620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eaLnBrk="1" hangingPunct="1">
              <a:lnSpc>
                <a:spcPct val="114000"/>
              </a:lnSpc>
            </a:pPr>
            <a:r>
              <a:rPr altLang="nl-NL" dirty="0" sz="1000" lang="en-US"/>
              <a:t>Bachelor of Engineering</a:t>
            </a:r>
          </a:p>
          <a:p>
            <a:pPr eaLnBrk="1" hangingPunct="1">
              <a:lnSpc>
                <a:spcPct val="114000"/>
              </a:lnSpc>
            </a:pPr>
            <a:r>
              <a:rPr altLang="nl-NL" dirty="0" sz="1000" lang="en-US"/>
              <a:t>Civil : 2</a:t>
            </a:r>
            <a:r>
              <a:rPr altLang="nl-NL" dirty="0" sz="1000" lang="en-US"/>
              <a:t>0</a:t>
            </a:r>
            <a:r>
              <a:rPr altLang="nl-NL" dirty="0" sz="1000" lang="en-US"/>
              <a:t>1</a:t>
            </a:r>
            <a:r>
              <a:rPr altLang="nl-NL" dirty="0" sz="1000" lang="en-US"/>
              <a:t>7</a:t>
            </a:r>
            <a:r>
              <a:rPr altLang="nl-NL" dirty="0" sz="1000" lang="en-US"/>
              <a:t>-</a:t>
            </a:r>
            <a:r>
              <a:rPr altLang="nl-NL" dirty="0" sz="1000" lang="en-US"/>
              <a:t>2</a:t>
            </a:r>
            <a:r>
              <a:rPr altLang="nl-NL" dirty="0" sz="1000" lang="en-US"/>
              <a:t>0</a:t>
            </a:r>
            <a:r>
              <a:rPr altLang="nl-NL" dirty="0" sz="1000" lang="en-US"/>
              <a:t>2</a:t>
            </a:r>
            <a:r>
              <a:rPr altLang="nl-NL" dirty="0" sz="1000" lang="en-US"/>
              <a:t>0</a:t>
            </a:r>
            <a:endParaRPr altLang="en-US" lang="zh-CN"/>
          </a:p>
          <a:p>
            <a:br>
              <a:rPr altLang="nl-NL" b="1" dirty="0" sz="1000" lang="en-US">
                <a:solidFill>
                  <a:srgbClr val="0070AD"/>
                </a:solidFill>
              </a:rPr>
            </a:br>
            <a:r>
              <a:rPr altLang="nl-NL" b="1" dirty="0" sz="1200" lang="en-US">
                <a:solidFill>
                  <a:srgbClr val="0070AD"/>
                </a:solidFill>
              </a:rPr>
              <a:t>Skills</a:t>
            </a:r>
            <a:br>
              <a:rPr altLang="nl-NL" b="1" dirty="0" sz="1000" lang="en-US">
                <a:solidFill>
                  <a:srgbClr val="0070AD"/>
                </a:solidFill>
              </a:rPr>
            </a:br>
            <a:r>
              <a:rPr dirty="0" sz="1000" lang="en-US"/>
              <a:t>C#</a:t>
            </a:r>
          </a:p>
          <a:p>
            <a:r>
              <a:rPr dirty="0" sz="1000" lang="en-US"/>
              <a:t>ADO. NET</a:t>
            </a:r>
          </a:p>
          <a:p>
            <a:r>
              <a:rPr dirty="0" sz="1000" lang="en-US"/>
              <a:t>ASP. NET Framework</a:t>
            </a:r>
          </a:p>
          <a:p>
            <a:r>
              <a:rPr dirty="0" sz="1000" lang="en-US"/>
              <a:t>ASP. NET Core MVC</a:t>
            </a:r>
          </a:p>
          <a:p>
            <a:pPr eaLnBrk="1" hangingPunct="1">
              <a:lnSpc>
                <a:spcPct val="114000"/>
              </a:lnSpc>
            </a:pPr>
            <a:r>
              <a:rPr altLang="en-US" dirty="0" sz="1000" lang="en-US"/>
              <a:t>Bootstrap</a:t>
            </a:r>
          </a:p>
          <a:p>
            <a:pPr eaLnBrk="1" hangingPunct="1">
              <a:lnSpc>
                <a:spcPct val="114000"/>
              </a:lnSpc>
            </a:pPr>
            <a:endParaRPr altLang="en-US" dirty="0" sz="1000" lang="en-US"/>
          </a:p>
          <a:p>
            <a:pPr eaLnBrk="1" hangingPunct="1">
              <a:lnSpc>
                <a:spcPct val="114000"/>
              </a:lnSpc>
            </a:pPr>
            <a:r>
              <a:rPr altLang="nl-NL" b="1" dirty="0" sz="1200" lang="en-US">
                <a:solidFill>
                  <a:srgbClr val="0070AD"/>
                </a:solidFill>
              </a:rPr>
              <a:t>Database</a:t>
            </a:r>
          </a:p>
          <a:p>
            <a:pPr eaLnBrk="1" hangingPunct="1">
              <a:lnSpc>
                <a:spcPct val="114000"/>
              </a:lnSpc>
            </a:pPr>
            <a:r>
              <a:rPr altLang="nl-NL" dirty="0" sz="1000" lang="en-US"/>
              <a:t>SQL database –  MySQL</a:t>
            </a:r>
          </a:p>
          <a:p>
            <a:pPr eaLnBrk="1" hangingPunct="1">
              <a:lnSpc>
                <a:spcPct val="114000"/>
              </a:lnSpc>
            </a:pPr>
            <a:endParaRPr altLang="nl-NL" dirty="0" sz="1000" lang="en-US"/>
          </a:p>
          <a:p>
            <a:pPr eaLnBrk="1" hangingPunct="1">
              <a:lnSpc>
                <a:spcPct val="114000"/>
              </a:lnSpc>
            </a:pPr>
            <a:r>
              <a:rPr altLang="nl-NL" b="1" dirty="0" sz="1200" lang="en-US">
                <a:solidFill>
                  <a:srgbClr val="0070AD"/>
                </a:solidFill>
              </a:rPr>
              <a:t>Web Technologies</a:t>
            </a:r>
            <a:endParaRPr altLang="nl-NL" dirty="0" sz="1200" lang="en-US"/>
          </a:p>
          <a:p>
            <a:pPr eaLnBrk="1" hangingPunct="1">
              <a:lnSpc>
                <a:spcPct val="114000"/>
              </a:lnSpc>
            </a:pPr>
            <a:r>
              <a:rPr altLang="nl-NL" dirty="0" sz="1000" lang="en-US"/>
              <a:t>HTML5</a:t>
            </a:r>
          </a:p>
          <a:p>
            <a:pPr eaLnBrk="1" hangingPunct="1">
              <a:lnSpc>
                <a:spcPct val="114000"/>
              </a:lnSpc>
            </a:pPr>
            <a:r>
              <a:rPr altLang="nl-NL" dirty="0" sz="1000" lang="en-US"/>
              <a:t>CSS3</a:t>
            </a:r>
          </a:p>
          <a:p>
            <a:pPr eaLnBrk="1" hangingPunct="1">
              <a:lnSpc>
                <a:spcPct val="114000"/>
              </a:lnSpc>
            </a:pPr>
            <a:endParaRPr altLang="nl-NL" b="1" dirty="0" sz="1000" lang="en-US">
              <a:solidFill>
                <a:srgbClr val="0070AD"/>
              </a:solidFill>
            </a:endParaRPr>
          </a:p>
          <a:p>
            <a:pPr eaLnBrk="1" hangingPunct="1">
              <a:lnSpc>
                <a:spcPct val="114000"/>
              </a:lnSpc>
            </a:pPr>
            <a:r>
              <a:rPr altLang="nl-NL" b="1" dirty="0" sz="1200" lang="en-US">
                <a:solidFill>
                  <a:srgbClr val="0070AD"/>
                </a:solidFill>
              </a:rPr>
              <a:t>Add-ons</a:t>
            </a:r>
            <a:endParaRPr altLang="nl-NL" dirty="0" sz="1200" lang="en-US"/>
          </a:p>
          <a:p>
            <a:pPr eaLnBrk="1" hangingPunct="1">
              <a:lnSpc>
                <a:spcPct val="114000"/>
              </a:lnSpc>
            </a:pPr>
            <a:r>
              <a:rPr altLang="nl-NL" dirty="0" sz="1000" lang="en-US"/>
              <a:t>GitHub</a:t>
            </a:r>
          </a:p>
          <a:p>
            <a:pPr eaLnBrk="1" hangingPunct="1">
              <a:lnSpc>
                <a:spcPct val="114000"/>
              </a:lnSpc>
            </a:pPr>
            <a:r>
              <a:rPr altLang="nl-NL" dirty="0" sz="1000" lang="en-US"/>
              <a:t>Postman</a:t>
            </a:r>
          </a:p>
          <a:p>
            <a:pPr eaLnBrk="1" hangingPunct="1">
              <a:lnSpc>
                <a:spcPct val="114000"/>
              </a:lnSpc>
            </a:pPr>
            <a:r>
              <a:rPr altLang="nl-NL" dirty="0" sz="1000" lang="en-US"/>
              <a:t>Swagger</a:t>
            </a:r>
          </a:p>
          <a:p>
            <a:pPr eaLnBrk="1" hangingPunct="1">
              <a:lnSpc>
                <a:spcPct val="114000"/>
              </a:lnSpc>
            </a:pPr>
            <a:endParaRPr altLang="nl-NL" dirty="0" sz="1000" lang="en-US"/>
          </a:p>
          <a:p>
            <a:pPr lvl="0">
              <a:lnSpc>
                <a:spcPct val="114000"/>
              </a:lnSpc>
            </a:pPr>
            <a:r>
              <a:rPr altLang="nl-NL" b="1" dirty="0" sz="1200" lang="en-US">
                <a:solidFill>
                  <a:srgbClr val="0070AD"/>
                </a:solidFill>
              </a:rPr>
              <a:t>Tools</a:t>
            </a:r>
            <a:endParaRPr altLang="nl-NL" dirty="0" sz="1200" lang="en-US"/>
          </a:p>
          <a:p>
            <a:pPr lvl="0">
              <a:lnSpc>
                <a:spcPct val="114000"/>
              </a:lnSpc>
            </a:pPr>
            <a:r>
              <a:rPr dirty="0" sz="1000" lang="en-US">
                <a:solidFill>
                  <a:prstClr val="black"/>
                </a:solidFill>
              </a:rPr>
              <a:t>Visual Studio 2019</a:t>
            </a:r>
          </a:p>
          <a:p>
            <a:pPr eaLnBrk="1" hangingPunct="1">
              <a:lnSpc>
                <a:spcPct val="114000"/>
              </a:lnSpc>
            </a:pPr>
            <a:endParaRPr altLang="nl-NL" dirty="0" sz="1000" lang="en-US"/>
          </a:p>
          <a:p>
            <a:pPr eaLnBrk="1" hangingPunct="1">
              <a:lnSpc>
                <a:spcPct val="114000"/>
              </a:lnSpc>
            </a:pPr>
            <a:r>
              <a:rPr altLang="nl-NL" b="1" dirty="0" sz="1200" lang="en-US">
                <a:solidFill>
                  <a:srgbClr val="0070AD"/>
                </a:solidFill>
              </a:rPr>
              <a:t>Additional Details</a:t>
            </a:r>
          </a:p>
          <a:p>
            <a:pPr eaLnBrk="1" hangingPunct="1">
              <a:lnSpc>
                <a:spcPct val="114000"/>
              </a:lnSpc>
            </a:pPr>
            <a:r>
              <a:rPr altLang="nl-NL" dirty="0" sz="1000" lang="en-US"/>
              <a:t>Leadership</a:t>
            </a:r>
          </a:p>
          <a:p>
            <a:pPr eaLnBrk="1" hangingPunct="1">
              <a:lnSpc>
                <a:spcPct val="114000"/>
              </a:lnSpc>
            </a:pPr>
            <a:r>
              <a:rPr altLang="nl-NL" dirty="0" sz="1000" lang="en-US"/>
              <a:t>Team management</a:t>
            </a:r>
          </a:p>
          <a:p>
            <a:pPr>
              <a:lnSpc>
                <a:spcPct val="114000"/>
              </a:lnSpc>
            </a:pPr>
            <a:r>
              <a:rPr altLang="nl-NL" dirty="0" sz="1000" lang="en-US"/>
              <a:t>Excellent Communication Skills</a:t>
            </a:r>
          </a:p>
          <a:p>
            <a:pPr eaLnBrk="1" hangingPunct="1">
              <a:lnSpc>
                <a:spcPct val="114000"/>
              </a:lnSpc>
            </a:pPr>
            <a:endParaRPr altLang="nl-NL" dirty="0" sz="1000" lang="en-US"/>
          </a:p>
          <a:p>
            <a:pPr eaLnBrk="1" hangingPunct="1">
              <a:lnSpc>
                <a:spcPct val="114000"/>
              </a:lnSpc>
            </a:pPr>
            <a:endParaRPr altLang="nl-NL" dirty="0" sz="1000" lang="en-US"/>
          </a:p>
          <a:p>
            <a:pPr eaLnBrk="1" hangingPunct="1">
              <a:lnSpc>
                <a:spcPct val="114000"/>
              </a:lnSpc>
            </a:pPr>
            <a:endParaRPr altLang="nl-NL" dirty="0" sz="1000" lang="en-US"/>
          </a:p>
          <a:p>
            <a:pPr eaLnBrk="1" hangingPunct="1">
              <a:lnSpc>
                <a:spcPct val="114000"/>
              </a:lnSpc>
            </a:pPr>
            <a:endParaRPr altLang="nl-NL" dirty="0" sz="1000" lang="en-US"/>
          </a:p>
          <a:p>
            <a:pPr eaLnBrk="1" hangingPunct="1">
              <a:lnSpc>
                <a:spcPct val="114000"/>
              </a:lnSpc>
            </a:pPr>
            <a:endParaRPr altLang="nl-NL" dirty="0" sz="1000" lang="en-US"/>
          </a:p>
          <a:p>
            <a:pPr eaLnBrk="1" hangingPunct="1">
              <a:lnSpc>
                <a:spcPct val="114000"/>
              </a:lnSpc>
            </a:pPr>
            <a:endParaRPr altLang="nl-NL" dirty="0" sz="1000" lang="en-US"/>
          </a:p>
          <a:p>
            <a:pPr eaLnBrk="1" hangingPunct="1">
              <a:lnSpc>
                <a:spcPct val="114000"/>
              </a:lnSpc>
            </a:pPr>
            <a:r>
              <a:rPr altLang="nl-NL" dirty="0" sz="1000" lang="en-US">
                <a:solidFill>
                  <a:srgbClr val="FF0000"/>
                </a:solidFill>
              </a:rPr>
              <a:t> </a:t>
            </a:r>
          </a:p>
        </p:txBody>
      </p:sp>
      <p:sp>
        <p:nvSpPr>
          <p:cNvPr id="1048607" name="Text Placeholder 1"/>
          <p:cNvSpPr>
            <a:spLocks noGrp="1"/>
          </p:cNvSpPr>
          <p:nvPr>
            <p:ph type="body" sz="quarter" idx="41"/>
          </p:nvPr>
        </p:nvSpPr>
        <p:spPr>
          <a:xfrm>
            <a:off x="2468563" y="250900"/>
            <a:ext cx="6223000" cy="306387"/>
          </a:xfrm>
        </p:spPr>
        <p:txBody>
          <a:bodyPr/>
          <a:p>
            <a:r>
              <a:rPr altLang="en-US" dirty="0" lang="en-US"/>
              <a:t>V</a:t>
            </a:r>
            <a:r>
              <a:rPr altLang="en-US" dirty="0" lang="en-US"/>
              <a:t>a</a:t>
            </a:r>
            <a:r>
              <a:rPr altLang="en-US" dirty="0" lang="en-US"/>
              <a:t>r</a:t>
            </a:r>
            <a:r>
              <a:rPr altLang="en-US" dirty="0" lang="en-US"/>
              <a:t>s</a:t>
            </a:r>
            <a:r>
              <a:rPr altLang="en-US" dirty="0" lang="en-US"/>
              <a:t>h</a:t>
            </a:r>
            <a:r>
              <a:rPr altLang="en-US" dirty="0" lang="en-US"/>
              <a:t>a</a:t>
            </a:r>
            <a:r>
              <a:rPr altLang="en-US" dirty="0" lang="en-US"/>
              <a:t>r</a:t>
            </a:r>
            <a:r>
              <a:rPr altLang="en-US" dirty="0" lang="en-US"/>
              <a:t>a</a:t>
            </a:r>
            <a:r>
              <a:rPr altLang="en-US" dirty="0" lang="en-US"/>
              <a:t>n</a:t>
            </a:r>
            <a:r>
              <a:rPr altLang="en-US" dirty="0" lang="en-US"/>
              <a:t>i</a:t>
            </a:r>
            <a:r>
              <a:rPr altLang="en-US" dirty="0" lang="en-US"/>
              <a:t> </a:t>
            </a:r>
            <a:r>
              <a:rPr altLang="en-US" dirty="0" lang="en-US"/>
              <a:t>N</a:t>
            </a:r>
            <a:r>
              <a:rPr altLang="en-US" dirty="0" lang="en-US"/>
              <a:t>a</a:t>
            </a:r>
            <a:r>
              <a:rPr altLang="en-US" dirty="0" lang="en-US"/>
              <a:t>g</a:t>
            </a:r>
            <a:r>
              <a:rPr altLang="en-US" dirty="0" lang="en-US"/>
              <a:t>a</a:t>
            </a:r>
            <a:r>
              <a:rPr altLang="en-US" dirty="0" lang="en-US"/>
              <a:t>r</a:t>
            </a:r>
            <a:r>
              <a:rPr altLang="en-US" dirty="0" lang="en-US"/>
              <a:t>e</a:t>
            </a:r>
            <a:endParaRPr altLang="en-US" lang="zh-CN"/>
          </a:p>
        </p:txBody>
      </p:sp>
      <p:pic>
        <p:nvPicPr>
          <p:cNvPr id="2097157" name="Picture 7">
            <a:hlinkClick r:id="rId2"/>
          </p:cNvPr>
          <p:cNvPicPr>
            <a:picLocks noChangeAspect="1" noChangeArrowheads="1"/>
          </p:cNvPicPr>
          <p:nvPr/>
        </p:nvPicPr>
        <p:blipFill>
          <a:blip xmlns:r="http://schemas.openxmlformats.org/officeDocument/2006/relationships" r:embed="rId3" cstate="print"/>
          <a:srcRect l="23582" t="2058" r="24332" b="4875"/>
          <a:stretch>
            <a:fillRect/>
          </a:stretch>
        </p:blipFill>
        <p:spPr bwMode="auto">
          <a:xfrm>
            <a:off x="217404" y="6060115"/>
            <a:ext cx="471487" cy="471488"/>
          </a:xfrm>
          <a:prstGeom prst="rect"/>
          <a:noFill/>
          <a:ln>
            <a:noFill/>
          </a:ln>
        </p:spPr>
      </p:pic>
      <p:sp>
        <p:nvSpPr>
          <p:cNvPr id="1048608" name="Text Placeholder 25"/>
          <p:cNvSpPr txBox="1">
            <a:spLocks noChangeArrowheads="1"/>
          </p:cNvSpPr>
          <p:nvPr/>
        </p:nvSpPr>
        <p:spPr bwMode="white">
          <a:xfrm>
            <a:off x="3074988" y="1989138"/>
            <a:ext cx="332173" cy="253604"/>
          </a:xfrm>
          <a:prstGeom prst="rect"/>
          <a:noFill/>
          <a:ln>
            <a:noFill/>
          </a:ln>
        </p:spPr>
        <p:txBody>
          <a:bodyPr bIns="0" lIns="0" rIns="0" tIns="0"/>
          <a:lstStyle>
            <a:lvl1pPr>
              <a:lnSpc>
                <a:spcPts val="2200"/>
              </a:lnSpc>
              <a:spcAft>
                <a:spcPts val="60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indent="-228600" marL="233363">
              <a:lnSpc>
                <a:spcPts val="2000"/>
              </a:lnSpc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indent="-223838" marL="457200">
              <a:lnSpc>
                <a:spcPts val="1600"/>
              </a:lnSpc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indent="-233363" marL="690563">
              <a:lnSpc>
                <a:spcPct val="90000"/>
              </a:lnSpc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‒"/>
              <a:defRPr sz="1200"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indent="-228600" marL="2057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eaLnBrk="0" fontAlgn="base" hangingPunct="0" indent="-228600" marL="251460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eaLnBrk="0" fontAlgn="base" hangingPunct="0" indent="-228600" marL="297180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eaLnBrk="0" fontAlgn="base" hangingPunct="0" indent="-228600" marL="342900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eaLnBrk="0" fontAlgn="base" hangingPunct="0" indent="-228600" marL="388620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eaLnBrk="1" hangingPunct="1"/>
            <a:r>
              <a:rPr altLang="nl-NL" dirty="0" sz="1100" lang="nl-NL">
                <a:solidFill>
                  <a:schemeClr val="bg1"/>
                </a:solidFill>
              </a:rPr>
              <a:t>A4</a:t>
            </a:r>
          </a:p>
        </p:txBody>
      </p:sp>
      <p:sp>
        <p:nvSpPr>
          <p:cNvPr id="1048609" name="Rectangle 1"/>
          <p:cNvSpPr/>
          <p:nvPr/>
        </p:nvSpPr>
        <p:spPr>
          <a:xfrm>
            <a:off x="670857" y="6060115"/>
            <a:ext cx="2736304" cy="321213"/>
          </a:xfrm>
          <a:prstGeom prst="rect"/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rtlCol="0"/>
          <a:p>
            <a:pPr algn="ctr"/>
            <a:r>
              <a:rPr dirty="0" sz="1200" lang="en-US">
                <a:solidFill>
                  <a:schemeClr val="tx1"/>
                </a:solidFill>
              </a:rPr>
              <a:t>Check out my work on GitHub</a:t>
            </a:r>
            <a:endParaRPr dirty="0" sz="1200" lang="en-US"/>
          </a:p>
        </p:txBody>
      </p:sp>
      <p:pic>
        <p:nvPicPr>
          <p:cNvPr id="2097163" name=""/>
          <p:cNvPicPr>
            <a:picLocks/>
          </p:cNvPicPr>
          <p:nvPr/>
        </p:nvPicPr>
        <p:blipFill>
          <a:blip xmlns:r="http://schemas.openxmlformats.org/officeDocument/2006/relationships" r:embed="rId4"/>
          <a:stretch>
            <a:fillRect/>
          </a:stretch>
        </p:blipFill>
        <p:spPr>
          <a:xfrm rot="0">
            <a:off x="453147" y="478936"/>
            <a:ext cx="1421457" cy="1500760"/>
          </a:xfrm>
          <a:prstGeom prst="rect"/>
        </p:spPr>
      </p:pic>
    </p:spTree>
  </p:cSld>
  <p:clrMapOvr>
    <a:masterClrMapping/>
  </p:clrMapOvr>
</p:sld>
</file>

<file path=ppt/tags/tag1.xml><?xml version="1.0" encoding="utf-8"?>
<p:tagLst xmlns:p="http://schemas.openxmlformats.org/presentationml/2006/main">
  <p:tag name="THINKCELLSHAPEDONOTDELETE" val="thinkcellActiveDocDoNotDelete"/>
</p:tagLst>
</file>

<file path=ppt/tags/tag2.xml><?xml version="1.0" encoding="utf-8"?>
<p:tagLst xmlns:p="http://schemas.openxmlformats.org/presentationml/2006/main">
  <p:tag name="THINKCELLSHAPEDONOTDELETE" val="thinkcellActiveDocDoNotDelete"/>
</p:tagLst>
</file>

<file path=ppt/tags/tag3.xml><?xml version="1.0" encoding="utf-8"?>
<p:tagLst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apgemini Master">
  <a:themeElements>
    <a:clrScheme name="Personnalisé 1">
      <a:dk1>
        <a:sysClr lastClr="000000" val="windowText"/>
      </a:dk1>
      <a:lt1>
        <a:srgbClr val="FFFFFF"/>
      </a:lt1>
      <a:dk2>
        <a:srgbClr val="2B143D"/>
      </a:dk2>
      <a:lt2>
        <a:srgbClr val="ECECEC"/>
      </a:lt2>
      <a:accent1>
        <a:srgbClr val="0070AD"/>
      </a:accent1>
      <a:accent2>
        <a:srgbClr val="12ABDB"/>
      </a:accent2>
      <a:accent3>
        <a:srgbClr val="2B143D"/>
      </a:accent3>
      <a:accent4>
        <a:srgbClr val="FF304C"/>
      </a:accent4>
      <a:accent5>
        <a:srgbClr val="95E616"/>
      </a:accent5>
      <a:accent6>
        <a:srgbClr val="00C37B"/>
      </a:accent6>
      <a:hlink>
        <a:srgbClr val="88D5ED"/>
      </a:hlink>
      <a:folHlink>
        <a:srgbClr val="7E39BA"/>
      </a:folHlink>
    </a:clrScheme>
    <a:fontScheme name="Capgemini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algn="ctr" blurRad="57150" dir="5400000" dist="19050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</a:theme>
</file>

<file path=ppt/theme/theme2.xml><?xml version="1.0" encoding="utf-8"?>
<a:theme xmlns:a="http://schemas.openxmlformats.org/drawingml/2006/main" name="Tema do Office">
  <a:themeElements>
    <a:clrScheme name="Capgemini Palette">
      <a:dk1>
        <a:sysClr lastClr="000000" val="windowText"/>
      </a:dk1>
      <a:lt1>
        <a:srgbClr val="FFFFFF"/>
      </a:lt1>
      <a:dk2>
        <a:srgbClr val="2B143D"/>
      </a:dk2>
      <a:lt2>
        <a:srgbClr val="E6E7E7"/>
      </a:lt2>
      <a:accent1>
        <a:srgbClr val="0070AD"/>
      </a:accent1>
      <a:accent2>
        <a:srgbClr val="12ABDB"/>
      </a:accent2>
      <a:accent3>
        <a:srgbClr val="2B143D"/>
      </a:accent3>
      <a:accent4>
        <a:srgbClr val="FF304C"/>
      </a:accent4>
      <a:accent5>
        <a:srgbClr val="95E616"/>
      </a:accent5>
      <a:accent6>
        <a:srgbClr val="00C37B"/>
      </a:accent6>
      <a:hlink>
        <a:srgbClr val="88D5ED"/>
      </a:hlink>
      <a:folHlink>
        <a:srgbClr val="7E39BA"/>
      </a:folHlink>
    </a:clrScheme>
    <a:fontScheme name="Capgemini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algn="ctr" blurRad="57150" dir="5400000" dist="19050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</a:theme>
</file>

<file path=ppt/theme/theme3.xml><?xml version="1.0" encoding="utf-8"?>
<a:theme xmlns:a="http://schemas.openxmlformats.org/drawingml/2006/main" name="Office Theme">
  <a:themeElements>
    <a:clrScheme name="Capgemini Palette">
      <a:dk1>
        <a:sysClr lastClr="000000" val="windowText"/>
      </a:dk1>
      <a:lt1>
        <a:srgbClr val="FFFFFF"/>
      </a:lt1>
      <a:dk2>
        <a:srgbClr val="2B143D"/>
      </a:dk2>
      <a:lt2>
        <a:srgbClr val="E6E7E7"/>
      </a:lt2>
      <a:accent1>
        <a:srgbClr val="0070AD"/>
      </a:accent1>
      <a:accent2>
        <a:srgbClr val="12ABDB"/>
      </a:accent2>
      <a:accent3>
        <a:srgbClr val="2B143D"/>
      </a:accent3>
      <a:accent4>
        <a:srgbClr val="FF304C"/>
      </a:accent4>
      <a:accent5>
        <a:srgbClr val="95E616"/>
      </a:accent5>
      <a:accent6>
        <a:srgbClr val="00C37B"/>
      </a:accent6>
      <a:hlink>
        <a:srgbClr val="88D5ED"/>
      </a:hlink>
      <a:folHlink>
        <a:srgbClr val="7E39BA"/>
      </a:folHlink>
    </a:clrScheme>
    <a:fontScheme name="Capgemini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algn="ctr" blurRad="57150" dir="5400000" dist="19050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</a:theme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A2EFE742-3A8E-4E5A-B843-9354826E5980}">
  <ds:schemaRefs>
    <ds:schemaRef ds:uri="http://schemas.microsoft.com/office/2006/metadata/properties"/>
    <ds:schemaRef ds:uri="http://www.w3.org/2000/xmlns/"/>
  </ds:schemaRefs>
</ds:datastoreItem>
</file>

<file path=docProps/app.xml><?xml version="1.0" encoding="utf-8"?>
<Properties xmlns="http://schemas.openxmlformats.org/officeDocument/2006/extended-properties">
  <Application>Microsoft Office PowerPoint</Application>
  <ScaleCrop>0</ScaleCrop>
  <Company>Capgemini</Company>
  <LinksUpToDate>0</LinksUpToDate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xsi="http://www.w3.org/2001/XMLSchema-instance">
  <dc:title>Title of the presentation 2 lines</dc:title>
  <dc:creator>Kuzhivelil, Jose</dc:creator>
  <cp:lastModifiedBy>Unknown User</cp:lastModifiedBy>
  <dcterms:created xsi:type="dcterms:W3CDTF">2017-12-07T18:27:40Z</dcterms:created>
  <dcterms:modified xsi:type="dcterms:W3CDTF">2022-05-11T04:33:1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5002ACB8F81EC8489A4DF17045E90748</vt:lpwstr>
  </property>
</Properties>
</file>